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62"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810B"/>
    <a:srgbClr val="CFB991"/>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40" d="100"/>
          <a:sy n="40" d="100"/>
        </p:scale>
        <p:origin x="-3408" y="-1576"/>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n Robert Tiffany" userId="ea4c46ce-7a72-4b91-a17d-36b338b5a71d" providerId="ADAL" clId="{02371397-AD8B-42F1-ACD0-926B18D9ED3A}"/>
    <pc:docChg chg="undo redo custSel modSld">
      <pc:chgData name="Evan Robert Tiffany" userId="ea4c46ce-7a72-4b91-a17d-36b338b5a71d" providerId="ADAL" clId="{02371397-AD8B-42F1-ACD0-926B18D9ED3A}" dt="2022-03-27T02:12:26.738" v="4796" actId="20577"/>
      <pc:docMkLst>
        <pc:docMk/>
      </pc:docMkLst>
      <pc:sldChg chg="addSp delSp modSp mod">
        <pc:chgData name="Evan Robert Tiffany" userId="ea4c46ce-7a72-4b91-a17d-36b338b5a71d" providerId="ADAL" clId="{02371397-AD8B-42F1-ACD0-926B18D9ED3A}" dt="2022-03-27T02:12:26.738" v="4796" actId="20577"/>
        <pc:sldMkLst>
          <pc:docMk/>
          <pc:sldMk cId="4096158020" sldId="262"/>
        </pc:sldMkLst>
        <pc:spChg chg="mod">
          <ac:chgData name="Evan Robert Tiffany" userId="ea4c46ce-7a72-4b91-a17d-36b338b5a71d" providerId="ADAL" clId="{02371397-AD8B-42F1-ACD0-926B18D9ED3A}" dt="2022-03-04T18:23:16.393" v="320" actId="20577"/>
          <ac:spMkLst>
            <pc:docMk/>
            <pc:sldMk cId="4096158020" sldId="262"/>
            <ac:spMk id="9" creationId="{6F2E9070-9489-5448-8F2E-39BDAC89CC91}"/>
          </ac:spMkLst>
        </pc:spChg>
        <pc:spChg chg="add del">
          <ac:chgData name="Evan Robert Tiffany" userId="ea4c46ce-7a72-4b91-a17d-36b338b5a71d" providerId="ADAL" clId="{02371397-AD8B-42F1-ACD0-926B18D9ED3A}" dt="2022-03-26T03:23:52.519" v="3471" actId="478"/>
          <ac:spMkLst>
            <pc:docMk/>
            <pc:sldMk cId="4096158020" sldId="262"/>
            <ac:spMk id="10" creationId="{B022DB96-431A-48F3-8C0F-2971F7C22EF4}"/>
          </ac:spMkLst>
        </pc:spChg>
        <pc:spChg chg="add del mod">
          <ac:chgData name="Evan Robert Tiffany" userId="ea4c46ce-7a72-4b91-a17d-36b338b5a71d" providerId="ADAL" clId="{02371397-AD8B-42F1-ACD0-926B18D9ED3A}" dt="2022-03-26T03:24:00.911" v="3474" actId="478"/>
          <ac:spMkLst>
            <pc:docMk/>
            <pc:sldMk cId="4096158020" sldId="262"/>
            <ac:spMk id="11" creationId="{384E685D-C827-4C39-B8CA-E071C60F423A}"/>
          </ac:spMkLst>
        </pc:spChg>
        <pc:spChg chg="add mod">
          <ac:chgData name="Evan Robert Tiffany" userId="ea4c46ce-7a72-4b91-a17d-36b338b5a71d" providerId="ADAL" clId="{02371397-AD8B-42F1-ACD0-926B18D9ED3A}" dt="2022-03-26T03:25:02.870" v="3478" actId="14100"/>
          <ac:spMkLst>
            <pc:docMk/>
            <pc:sldMk cId="4096158020" sldId="262"/>
            <ac:spMk id="13" creationId="{D381B42B-929E-434A-9977-49F2982C075D}"/>
          </ac:spMkLst>
        </pc:spChg>
        <pc:spChg chg="add mod">
          <ac:chgData name="Evan Robert Tiffany" userId="ea4c46ce-7a72-4b91-a17d-36b338b5a71d" providerId="ADAL" clId="{02371397-AD8B-42F1-ACD0-926B18D9ED3A}" dt="2022-03-26T03:25:58.571" v="3486" actId="14100"/>
          <ac:spMkLst>
            <pc:docMk/>
            <pc:sldMk cId="4096158020" sldId="262"/>
            <ac:spMk id="19" creationId="{FB0DB264-6FFA-4719-A939-8826F13DFBD5}"/>
          </ac:spMkLst>
        </pc:spChg>
        <pc:spChg chg="mod">
          <ac:chgData name="Evan Robert Tiffany" userId="ea4c46ce-7a72-4b91-a17d-36b338b5a71d" providerId="ADAL" clId="{02371397-AD8B-42F1-ACD0-926B18D9ED3A}" dt="2022-03-04T18:42:07.228" v="652" actId="20577"/>
          <ac:spMkLst>
            <pc:docMk/>
            <pc:sldMk cId="4096158020" sldId="262"/>
            <ac:spMk id="42" creationId="{D92DB5B5-5EB2-844F-8102-BFDAA8558319}"/>
          </ac:spMkLst>
        </pc:spChg>
        <pc:spChg chg="mod">
          <ac:chgData name="Evan Robert Tiffany" userId="ea4c46ce-7a72-4b91-a17d-36b338b5a71d" providerId="ADAL" clId="{02371397-AD8B-42F1-ACD0-926B18D9ED3A}" dt="2022-03-26T03:18:08.780" v="3460" actId="1076"/>
          <ac:spMkLst>
            <pc:docMk/>
            <pc:sldMk cId="4096158020" sldId="262"/>
            <ac:spMk id="43" creationId="{803D5AFD-8A7F-964B-90CF-A176ECDB2337}"/>
          </ac:spMkLst>
        </pc:spChg>
        <pc:spChg chg="mod">
          <ac:chgData name="Evan Robert Tiffany" userId="ea4c46ce-7a72-4b91-a17d-36b338b5a71d" providerId="ADAL" clId="{02371397-AD8B-42F1-ACD0-926B18D9ED3A}" dt="2022-03-27T02:12:26.738" v="4796" actId="20577"/>
          <ac:spMkLst>
            <pc:docMk/>
            <pc:sldMk cId="4096158020" sldId="262"/>
            <ac:spMk id="44" creationId="{EE4CC1A1-8CAB-8B42-8965-ECE0927D951E}"/>
          </ac:spMkLst>
        </pc:spChg>
        <pc:spChg chg="mod">
          <ac:chgData name="Evan Robert Tiffany" userId="ea4c46ce-7a72-4b91-a17d-36b338b5a71d" providerId="ADAL" clId="{02371397-AD8B-42F1-ACD0-926B18D9ED3A}" dt="2022-03-27T02:10:08.026" v="4677" actId="1076"/>
          <ac:spMkLst>
            <pc:docMk/>
            <pc:sldMk cId="4096158020" sldId="262"/>
            <ac:spMk id="46" creationId="{629E306B-603B-694A-A8E1-71F5BED27672}"/>
          </ac:spMkLst>
        </pc:spChg>
        <pc:spChg chg="mod">
          <ac:chgData name="Evan Robert Tiffany" userId="ea4c46ce-7a72-4b91-a17d-36b338b5a71d" providerId="ADAL" clId="{02371397-AD8B-42F1-ACD0-926B18D9ED3A}" dt="2022-03-25T17:23:35.055" v="2452" actId="20577"/>
          <ac:spMkLst>
            <pc:docMk/>
            <pc:sldMk cId="4096158020" sldId="262"/>
            <ac:spMk id="53" creationId="{F6B55F38-EF67-C748-A73D-5B4492FA143A}"/>
          </ac:spMkLst>
        </pc:spChg>
        <pc:spChg chg="mod">
          <ac:chgData name="Evan Robert Tiffany" userId="ea4c46ce-7a72-4b91-a17d-36b338b5a71d" providerId="ADAL" clId="{02371397-AD8B-42F1-ACD0-926B18D9ED3A}" dt="2022-03-26T04:02:33.497" v="4676" actId="20577"/>
          <ac:spMkLst>
            <pc:docMk/>
            <pc:sldMk cId="4096158020" sldId="262"/>
            <ac:spMk id="68" creationId="{FD400E24-C324-3D44-852E-DF3DC7A509B6}"/>
          </ac:spMkLst>
        </pc:spChg>
        <pc:spChg chg="mod">
          <ac:chgData name="Evan Robert Tiffany" userId="ea4c46ce-7a72-4b91-a17d-36b338b5a71d" providerId="ADAL" clId="{02371397-AD8B-42F1-ACD0-926B18D9ED3A}" dt="2022-03-27T02:11:44.224" v="4790" actId="20577"/>
          <ac:spMkLst>
            <pc:docMk/>
            <pc:sldMk cId="4096158020" sldId="262"/>
            <ac:spMk id="97" creationId="{90974D1A-B86E-264A-940C-9993B0C9492B}"/>
          </ac:spMkLst>
        </pc:spChg>
        <pc:spChg chg="mod">
          <ac:chgData name="Evan Robert Tiffany" userId="ea4c46ce-7a72-4b91-a17d-36b338b5a71d" providerId="ADAL" clId="{02371397-AD8B-42F1-ACD0-926B18D9ED3A}" dt="2022-03-26T03:19:58.256" v="3467" actId="1038"/>
          <ac:spMkLst>
            <pc:docMk/>
            <pc:sldMk cId="4096158020" sldId="262"/>
            <ac:spMk id="100" creationId="{DEF65FC7-BAC5-324C-AFB9-A79367124296}"/>
          </ac:spMkLst>
        </pc:spChg>
        <pc:spChg chg="del mod">
          <ac:chgData name="Evan Robert Tiffany" userId="ea4c46ce-7a72-4b91-a17d-36b338b5a71d" providerId="ADAL" clId="{02371397-AD8B-42F1-ACD0-926B18D9ED3A}" dt="2022-03-26T03:19:19.260" v="3465" actId="478"/>
          <ac:spMkLst>
            <pc:docMk/>
            <pc:sldMk cId="4096158020" sldId="262"/>
            <ac:spMk id="117" creationId="{4C2C84C8-B7AD-4097-B76F-1076F7F41236}"/>
          </ac:spMkLst>
        </pc:spChg>
        <pc:spChg chg="mod">
          <ac:chgData name="Evan Robert Tiffany" userId="ea4c46ce-7a72-4b91-a17d-36b338b5a71d" providerId="ADAL" clId="{02371397-AD8B-42F1-ACD0-926B18D9ED3A}" dt="2022-03-26T03:17:25.383" v="3451" actId="1076"/>
          <ac:spMkLst>
            <pc:docMk/>
            <pc:sldMk cId="4096158020" sldId="262"/>
            <ac:spMk id="118" creationId="{0A9888E9-E74E-40D3-8188-C401AE27CC66}"/>
          </ac:spMkLst>
        </pc:spChg>
        <pc:spChg chg="mod">
          <ac:chgData name="Evan Robert Tiffany" userId="ea4c46ce-7a72-4b91-a17d-36b338b5a71d" providerId="ADAL" clId="{02371397-AD8B-42F1-ACD0-926B18D9ED3A}" dt="2022-03-26T03:14:11.317" v="3438" actId="1076"/>
          <ac:spMkLst>
            <pc:docMk/>
            <pc:sldMk cId="4096158020" sldId="262"/>
            <ac:spMk id="119" creationId="{4FB5416C-DE72-43F8-B077-D8539D88D434}"/>
          </ac:spMkLst>
        </pc:spChg>
        <pc:spChg chg="mod">
          <ac:chgData name="Evan Robert Tiffany" userId="ea4c46ce-7a72-4b91-a17d-36b338b5a71d" providerId="ADAL" clId="{02371397-AD8B-42F1-ACD0-926B18D9ED3A}" dt="2022-03-26T03:14:11.317" v="3438" actId="1076"/>
          <ac:spMkLst>
            <pc:docMk/>
            <pc:sldMk cId="4096158020" sldId="262"/>
            <ac:spMk id="120" creationId="{5B9E372B-EFCC-4F42-A2BE-B52898111480}"/>
          </ac:spMkLst>
        </pc:spChg>
        <pc:spChg chg="mod">
          <ac:chgData name="Evan Robert Tiffany" userId="ea4c46ce-7a72-4b91-a17d-36b338b5a71d" providerId="ADAL" clId="{02371397-AD8B-42F1-ACD0-926B18D9ED3A}" dt="2022-03-26T03:14:11.317" v="3438" actId="1076"/>
          <ac:spMkLst>
            <pc:docMk/>
            <pc:sldMk cId="4096158020" sldId="262"/>
            <ac:spMk id="121" creationId="{4035F42A-E3E7-4C81-AB64-EF4617B7EB22}"/>
          </ac:spMkLst>
        </pc:spChg>
        <pc:spChg chg="mod">
          <ac:chgData name="Evan Robert Tiffany" userId="ea4c46ce-7a72-4b91-a17d-36b338b5a71d" providerId="ADAL" clId="{02371397-AD8B-42F1-ACD0-926B18D9ED3A}" dt="2022-03-26T03:14:11.317" v="3438" actId="1076"/>
          <ac:spMkLst>
            <pc:docMk/>
            <pc:sldMk cId="4096158020" sldId="262"/>
            <ac:spMk id="122" creationId="{3E4C133B-7B50-4CD5-AE26-AC25A3D533E7}"/>
          </ac:spMkLst>
        </pc:spChg>
        <pc:spChg chg="mod">
          <ac:chgData name="Evan Robert Tiffany" userId="ea4c46ce-7a72-4b91-a17d-36b338b5a71d" providerId="ADAL" clId="{02371397-AD8B-42F1-ACD0-926B18D9ED3A}" dt="2022-03-26T03:14:11.317" v="3438" actId="1076"/>
          <ac:spMkLst>
            <pc:docMk/>
            <pc:sldMk cId="4096158020" sldId="262"/>
            <ac:spMk id="124" creationId="{B6C2145A-A299-4ED1-B70C-4BDC186B36B3}"/>
          </ac:spMkLst>
        </pc:spChg>
        <pc:spChg chg="mod">
          <ac:chgData name="Evan Robert Tiffany" userId="ea4c46ce-7a72-4b91-a17d-36b338b5a71d" providerId="ADAL" clId="{02371397-AD8B-42F1-ACD0-926B18D9ED3A}" dt="2022-03-26T03:14:11.317" v="3438" actId="1076"/>
          <ac:spMkLst>
            <pc:docMk/>
            <pc:sldMk cId="4096158020" sldId="262"/>
            <ac:spMk id="125" creationId="{923242EC-DA09-4944-AC13-3B2E7DC17A80}"/>
          </ac:spMkLst>
        </pc:spChg>
        <pc:spChg chg="mod">
          <ac:chgData name="Evan Robert Tiffany" userId="ea4c46ce-7a72-4b91-a17d-36b338b5a71d" providerId="ADAL" clId="{02371397-AD8B-42F1-ACD0-926B18D9ED3A}" dt="2022-03-26T03:14:11.317" v="3438" actId="1076"/>
          <ac:spMkLst>
            <pc:docMk/>
            <pc:sldMk cId="4096158020" sldId="262"/>
            <ac:spMk id="126" creationId="{2EEDBBFB-97DE-4C97-AA29-09FEC1BDA867}"/>
          </ac:spMkLst>
        </pc:spChg>
        <pc:spChg chg="mod">
          <ac:chgData name="Evan Robert Tiffany" userId="ea4c46ce-7a72-4b91-a17d-36b338b5a71d" providerId="ADAL" clId="{02371397-AD8B-42F1-ACD0-926B18D9ED3A}" dt="2022-03-26T03:14:11.317" v="3438" actId="1076"/>
          <ac:spMkLst>
            <pc:docMk/>
            <pc:sldMk cId="4096158020" sldId="262"/>
            <ac:spMk id="127" creationId="{E2D4CEED-C867-42A1-950C-0F02A436C78A}"/>
          </ac:spMkLst>
        </pc:spChg>
        <pc:spChg chg="mod">
          <ac:chgData name="Evan Robert Tiffany" userId="ea4c46ce-7a72-4b91-a17d-36b338b5a71d" providerId="ADAL" clId="{02371397-AD8B-42F1-ACD0-926B18D9ED3A}" dt="2022-03-26T03:14:11.317" v="3438" actId="1076"/>
          <ac:spMkLst>
            <pc:docMk/>
            <pc:sldMk cId="4096158020" sldId="262"/>
            <ac:spMk id="128" creationId="{EBDBF738-0B76-4CB5-A754-DFEDC25A0C8A}"/>
          </ac:spMkLst>
        </pc:spChg>
        <pc:spChg chg="mod">
          <ac:chgData name="Evan Robert Tiffany" userId="ea4c46ce-7a72-4b91-a17d-36b338b5a71d" providerId="ADAL" clId="{02371397-AD8B-42F1-ACD0-926B18D9ED3A}" dt="2022-03-26T03:14:11.317" v="3438" actId="1076"/>
          <ac:spMkLst>
            <pc:docMk/>
            <pc:sldMk cId="4096158020" sldId="262"/>
            <ac:spMk id="129" creationId="{93469BBA-1AA4-4FAE-A6B9-0B626135BC47}"/>
          </ac:spMkLst>
        </pc:spChg>
        <pc:spChg chg="mod">
          <ac:chgData name="Evan Robert Tiffany" userId="ea4c46ce-7a72-4b91-a17d-36b338b5a71d" providerId="ADAL" clId="{02371397-AD8B-42F1-ACD0-926B18D9ED3A}" dt="2022-03-26T03:14:11.317" v="3438" actId="1076"/>
          <ac:spMkLst>
            <pc:docMk/>
            <pc:sldMk cId="4096158020" sldId="262"/>
            <ac:spMk id="130" creationId="{4001728D-C8DA-449C-A690-8E133E914432}"/>
          </ac:spMkLst>
        </pc:spChg>
        <pc:spChg chg="mod">
          <ac:chgData name="Evan Robert Tiffany" userId="ea4c46ce-7a72-4b91-a17d-36b338b5a71d" providerId="ADAL" clId="{02371397-AD8B-42F1-ACD0-926B18D9ED3A}" dt="2022-03-26T03:14:11.317" v="3438" actId="1076"/>
          <ac:spMkLst>
            <pc:docMk/>
            <pc:sldMk cId="4096158020" sldId="262"/>
            <ac:spMk id="131" creationId="{957A79D5-9E32-4BA4-9C6E-FC34A0FC5521}"/>
          </ac:spMkLst>
        </pc:spChg>
        <pc:spChg chg="mod">
          <ac:chgData name="Evan Robert Tiffany" userId="ea4c46ce-7a72-4b91-a17d-36b338b5a71d" providerId="ADAL" clId="{02371397-AD8B-42F1-ACD0-926B18D9ED3A}" dt="2022-03-26T03:14:11.317" v="3438" actId="1076"/>
          <ac:spMkLst>
            <pc:docMk/>
            <pc:sldMk cId="4096158020" sldId="262"/>
            <ac:spMk id="132" creationId="{86035E55-CF62-41C1-932D-366256FA7FB8}"/>
          </ac:spMkLst>
        </pc:spChg>
        <pc:spChg chg="mod">
          <ac:chgData name="Evan Robert Tiffany" userId="ea4c46ce-7a72-4b91-a17d-36b338b5a71d" providerId="ADAL" clId="{02371397-AD8B-42F1-ACD0-926B18D9ED3A}" dt="2022-03-26T03:14:11.317" v="3438" actId="1076"/>
          <ac:spMkLst>
            <pc:docMk/>
            <pc:sldMk cId="4096158020" sldId="262"/>
            <ac:spMk id="133" creationId="{B2F34A7C-2DB4-4373-B2A9-94E6C881E6F2}"/>
          </ac:spMkLst>
        </pc:spChg>
        <pc:spChg chg="mod">
          <ac:chgData name="Evan Robert Tiffany" userId="ea4c46ce-7a72-4b91-a17d-36b338b5a71d" providerId="ADAL" clId="{02371397-AD8B-42F1-ACD0-926B18D9ED3A}" dt="2022-03-26T03:14:11.317" v="3438" actId="1076"/>
          <ac:spMkLst>
            <pc:docMk/>
            <pc:sldMk cId="4096158020" sldId="262"/>
            <ac:spMk id="134" creationId="{7F59A3B4-A739-4130-AC1F-A7995117010F}"/>
          </ac:spMkLst>
        </pc:spChg>
        <pc:spChg chg="mod">
          <ac:chgData name="Evan Robert Tiffany" userId="ea4c46ce-7a72-4b91-a17d-36b338b5a71d" providerId="ADAL" clId="{02371397-AD8B-42F1-ACD0-926B18D9ED3A}" dt="2022-03-26T03:14:11.317" v="3438" actId="1076"/>
          <ac:spMkLst>
            <pc:docMk/>
            <pc:sldMk cId="4096158020" sldId="262"/>
            <ac:spMk id="141" creationId="{857633A7-196C-40E7-8186-47587C09BDFC}"/>
          </ac:spMkLst>
        </pc:spChg>
        <pc:spChg chg="mod">
          <ac:chgData name="Evan Robert Tiffany" userId="ea4c46ce-7a72-4b91-a17d-36b338b5a71d" providerId="ADAL" clId="{02371397-AD8B-42F1-ACD0-926B18D9ED3A}" dt="2022-03-26T03:17:25.543" v="3452" actId="1076"/>
          <ac:spMkLst>
            <pc:docMk/>
            <pc:sldMk cId="4096158020" sldId="262"/>
            <ac:spMk id="142" creationId="{5547C3F3-2E3C-4A24-921E-12864685E4D0}"/>
          </ac:spMkLst>
        </pc:spChg>
        <pc:spChg chg="mod">
          <ac:chgData name="Evan Robert Tiffany" userId="ea4c46ce-7a72-4b91-a17d-36b338b5a71d" providerId="ADAL" clId="{02371397-AD8B-42F1-ACD0-926B18D9ED3A}" dt="2022-03-26T03:14:11.317" v="3438" actId="1076"/>
          <ac:spMkLst>
            <pc:docMk/>
            <pc:sldMk cId="4096158020" sldId="262"/>
            <ac:spMk id="143" creationId="{CE11662F-D3DF-4A4D-9E01-251B3F164D59}"/>
          </ac:spMkLst>
        </pc:spChg>
        <pc:spChg chg="mod">
          <ac:chgData name="Evan Robert Tiffany" userId="ea4c46ce-7a72-4b91-a17d-36b338b5a71d" providerId="ADAL" clId="{02371397-AD8B-42F1-ACD0-926B18D9ED3A}" dt="2022-03-26T03:14:11.317" v="3438" actId="1076"/>
          <ac:spMkLst>
            <pc:docMk/>
            <pc:sldMk cId="4096158020" sldId="262"/>
            <ac:spMk id="149" creationId="{138DEF15-F60A-4856-B879-709F3D18E394}"/>
          </ac:spMkLst>
        </pc:spChg>
        <pc:spChg chg="mod">
          <ac:chgData name="Evan Robert Tiffany" userId="ea4c46ce-7a72-4b91-a17d-36b338b5a71d" providerId="ADAL" clId="{02371397-AD8B-42F1-ACD0-926B18D9ED3A}" dt="2022-03-26T03:14:11.317" v="3438" actId="1076"/>
          <ac:spMkLst>
            <pc:docMk/>
            <pc:sldMk cId="4096158020" sldId="262"/>
            <ac:spMk id="156" creationId="{9ED46A77-2A83-473F-8F75-3CB3F79FE994}"/>
          </ac:spMkLst>
        </pc:spChg>
        <pc:spChg chg="mod">
          <ac:chgData name="Evan Robert Tiffany" userId="ea4c46ce-7a72-4b91-a17d-36b338b5a71d" providerId="ADAL" clId="{02371397-AD8B-42F1-ACD0-926B18D9ED3A}" dt="2022-03-26T03:14:11.317" v="3438" actId="1076"/>
          <ac:spMkLst>
            <pc:docMk/>
            <pc:sldMk cId="4096158020" sldId="262"/>
            <ac:spMk id="157" creationId="{0023CEBB-B79A-4041-AB99-865789BDB980}"/>
          </ac:spMkLst>
        </pc:spChg>
        <pc:spChg chg="mod">
          <ac:chgData name="Evan Robert Tiffany" userId="ea4c46ce-7a72-4b91-a17d-36b338b5a71d" providerId="ADAL" clId="{02371397-AD8B-42F1-ACD0-926B18D9ED3A}" dt="2022-03-26T03:14:11.317" v="3438" actId="1076"/>
          <ac:spMkLst>
            <pc:docMk/>
            <pc:sldMk cId="4096158020" sldId="262"/>
            <ac:spMk id="158" creationId="{68603CD9-F297-4C7E-8005-9602966CAFE2}"/>
          </ac:spMkLst>
        </pc:spChg>
        <pc:spChg chg="mod">
          <ac:chgData name="Evan Robert Tiffany" userId="ea4c46ce-7a72-4b91-a17d-36b338b5a71d" providerId="ADAL" clId="{02371397-AD8B-42F1-ACD0-926B18D9ED3A}" dt="2022-03-26T03:14:11.317" v="3438" actId="1076"/>
          <ac:spMkLst>
            <pc:docMk/>
            <pc:sldMk cId="4096158020" sldId="262"/>
            <ac:spMk id="160" creationId="{6BCE64E0-AA97-4D59-8FD3-0261E075D38D}"/>
          </ac:spMkLst>
        </pc:spChg>
        <pc:spChg chg="mod">
          <ac:chgData name="Evan Robert Tiffany" userId="ea4c46ce-7a72-4b91-a17d-36b338b5a71d" providerId="ADAL" clId="{02371397-AD8B-42F1-ACD0-926B18D9ED3A}" dt="2022-03-26T03:14:11.317" v="3438" actId="1076"/>
          <ac:spMkLst>
            <pc:docMk/>
            <pc:sldMk cId="4096158020" sldId="262"/>
            <ac:spMk id="162" creationId="{AF80739E-8072-4A55-A2A9-57EEF0BC3163}"/>
          </ac:spMkLst>
        </pc:spChg>
        <pc:spChg chg="mod">
          <ac:chgData name="Evan Robert Tiffany" userId="ea4c46ce-7a72-4b91-a17d-36b338b5a71d" providerId="ADAL" clId="{02371397-AD8B-42F1-ACD0-926B18D9ED3A}" dt="2022-03-26T03:14:11.317" v="3438" actId="1076"/>
          <ac:spMkLst>
            <pc:docMk/>
            <pc:sldMk cId="4096158020" sldId="262"/>
            <ac:spMk id="168" creationId="{B2A85D74-0730-4016-85CE-3AD18E8FB15C}"/>
          </ac:spMkLst>
        </pc:spChg>
        <pc:spChg chg="mod">
          <ac:chgData name="Evan Robert Tiffany" userId="ea4c46ce-7a72-4b91-a17d-36b338b5a71d" providerId="ADAL" clId="{02371397-AD8B-42F1-ACD0-926B18D9ED3A}" dt="2022-03-26T03:14:11.317" v="3438" actId="1076"/>
          <ac:spMkLst>
            <pc:docMk/>
            <pc:sldMk cId="4096158020" sldId="262"/>
            <ac:spMk id="169" creationId="{6107CA75-7F32-4745-91C7-74DD08BDB444}"/>
          </ac:spMkLst>
        </pc:spChg>
        <pc:spChg chg="mod">
          <ac:chgData name="Evan Robert Tiffany" userId="ea4c46ce-7a72-4b91-a17d-36b338b5a71d" providerId="ADAL" clId="{02371397-AD8B-42F1-ACD0-926B18D9ED3A}" dt="2022-03-26T03:14:11.317" v="3438" actId="1076"/>
          <ac:spMkLst>
            <pc:docMk/>
            <pc:sldMk cId="4096158020" sldId="262"/>
            <ac:spMk id="178" creationId="{1FE33AF7-A607-4ABD-B0AF-1282E5EDAED5}"/>
          </ac:spMkLst>
        </pc:spChg>
        <pc:spChg chg="mod">
          <ac:chgData name="Evan Robert Tiffany" userId="ea4c46ce-7a72-4b91-a17d-36b338b5a71d" providerId="ADAL" clId="{02371397-AD8B-42F1-ACD0-926B18D9ED3A}" dt="2022-03-26T03:14:11.317" v="3438" actId="1076"/>
          <ac:spMkLst>
            <pc:docMk/>
            <pc:sldMk cId="4096158020" sldId="262"/>
            <ac:spMk id="179" creationId="{9E4BFC88-15DE-4CD0-9F9E-FB855122DBD2}"/>
          </ac:spMkLst>
        </pc:spChg>
        <pc:spChg chg="mod">
          <ac:chgData name="Evan Robert Tiffany" userId="ea4c46ce-7a72-4b91-a17d-36b338b5a71d" providerId="ADAL" clId="{02371397-AD8B-42F1-ACD0-926B18D9ED3A}" dt="2022-03-26T03:14:11.317" v="3438" actId="1076"/>
          <ac:spMkLst>
            <pc:docMk/>
            <pc:sldMk cId="4096158020" sldId="262"/>
            <ac:spMk id="180" creationId="{8B9D1A5C-FC40-495B-9416-A9995DA5DD0D}"/>
          </ac:spMkLst>
        </pc:spChg>
        <pc:spChg chg="mod">
          <ac:chgData name="Evan Robert Tiffany" userId="ea4c46ce-7a72-4b91-a17d-36b338b5a71d" providerId="ADAL" clId="{02371397-AD8B-42F1-ACD0-926B18D9ED3A}" dt="2022-03-26T03:14:11.317" v="3438" actId="1076"/>
          <ac:spMkLst>
            <pc:docMk/>
            <pc:sldMk cId="4096158020" sldId="262"/>
            <ac:spMk id="181" creationId="{136292A9-44F1-4B8E-B33B-EE1C08E9529D}"/>
          </ac:spMkLst>
        </pc:spChg>
        <pc:spChg chg="mod">
          <ac:chgData name="Evan Robert Tiffany" userId="ea4c46ce-7a72-4b91-a17d-36b338b5a71d" providerId="ADAL" clId="{02371397-AD8B-42F1-ACD0-926B18D9ED3A}" dt="2022-03-26T03:19:24.612" v="3466" actId="1076"/>
          <ac:spMkLst>
            <pc:docMk/>
            <pc:sldMk cId="4096158020" sldId="262"/>
            <ac:spMk id="182" creationId="{8601C7A0-8C09-4D05-921A-E1A1238D7BDA}"/>
          </ac:spMkLst>
        </pc:spChg>
        <pc:spChg chg="mod">
          <ac:chgData name="Evan Robert Tiffany" userId="ea4c46ce-7a72-4b91-a17d-36b338b5a71d" providerId="ADAL" clId="{02371397-AD8B-42F1-ACD0-926B18D9ED3A}" dt="2022-03-26T03:14:11.317" v="3438" actId="1076"/>
          <ac:spMkLst>
            <pc:docMk/>
            <pc:sldMk cId="4096158020" sldId="262"/>
            <ac:spMk id="183" creationId="{851D1573-C80C-4DD6-8861-CB44675237C8}"/>
          </ac:spMkLst>
        </pc:spChg>
        <pc:spChg chg="mod">
          <ac:chgData name="Evan Robert Tiffany" userId="ea4c46ce-7a72-4b91-a17d-36b338b5a71d" providerId="ADAL" clId="{02371397-AD8B-42F1-ACD0-926B18D9ED3A}" dt="2022-03-26T03:14:11.317" v="3438" actId="1076"/>
          <ac:spMkLst>
            <pc:docMk/>
            <pc:sldMk cId="4096158020" sldId="262"/>
            <ac:spMk id="185" creationId="{F65A6F73-1A28-451F-A37D-4F5C010DA60E}"/>
          </ac:spMkLst>
        </pc:spChg>
        <pc:spChg chg="del mod">
          <ac:chgData name="Evan Robert Tiffany" userId="ea4c46ce-7a72-4b91-a17d-36b338b5a71d" providerId="ADAL" clId="{02371397-AD8B-42F1-ACD0-926B18D9ED3A}" dt="2022-03-04T19:23:35.371" v="1498" actId="478"/>
          <ac:spMkLst>
            <pc:docMk/>
            <pc:sldMk cId="4096158020" sldId="262"/>
            <ac:spMk id="186" creationId="{6724CD10-0C75-4AC8-97F0-55DF761104B9}"/>
          </ac:spMkLst>
        </pc:spChg>
        <pc:spChg chg="del mod">
          <ac:chgData name="Evan Robert Tiffany" userId="ea4c46ce-7a72-4b91-a17d-36b338b5a71d" providerId="ADAL" clId="{02371397-AD8B-42F1-ACD0-926B18D9ED3A}" dt="2022-03-04T18:43:57.628" v="653" actId="478"/>
          <ac:spMkLst>
            <pc:docMk/>
            <pc:sldMk cId="4096158020" sldId="262"/>
            <ac:spMk id="187" creationId="{5F5B0ABD-9711-41E5-B8AD-BD9BD7778D07}"/>
          </ac:spMkLst>
        </pc:spChg>
        <pc:spChg chg="mod">
          <ac:chgData name="Evan Robert Tiffany" userId="ea4c46ce-7a72-4b91-a17d-36b338b5a71d" providerId="ADAL" clId="{02371397-AD8B-42F1-ACD0-926B18D9ED3A}" dt="2022-03-25T17:11:00.220" v="1540" actId="1076"/>
          <ac:spMkLst>
            <pc:docMk/>
            <pc:sldMk cId="4096158020" sldId="262"/>
            <ac:spMk id="220" creationId="{1309314C-CB16-46BA-AD5B-6A8F1AE5BDEB}"/>
          </ac:spMkLst>
        </pc:spChg>
        <pc:spChg chg="mod">
          <ac:chgData name="Evan Robert Tiffany" userId="ea4c46ce-7a72-4b91-a17d-36b338b5a71d" providerId="ADAL" clId="{02371397-AD8B-42F1-ACD0-926B18D9ED3A}" dt="2022-03-26T03:14:11.317" v="3438" actId="1076"/>
          <ac:spMkLst>
            <pc:docMk/>
            <pc:sldMk cId="4096158020" sldId="262"/>
            <ac:spMk id="221" creationId="{3DEEF0D0-F72A-4A4E-80E7-4C4B451D8331}"/>
          </ac:spMkLst>
        </pc:spChg>
        <pc:spChg chg="mod">
          <ac:chgData name="Evan Robert Tiffany" userId="ea4c46ce-7a72-4b91-a17d-36b338b5a71d" providerId="ADAL" clId="{02371397-AD8B-42F1-ACD0-926B18D9ED3A}" dt="2022-03-26T03:14:11.317" v="3438" actId="1076"/>
          <ac:spMkLst>
            <pc:docMk/>
            <pc:sldMk cId="4096158020" sldId="262"/>
            <ac:spMk id="222" creationId="{6731251D-B217-4C2B-97C8-56D78C14E0A6}"/>
          </ac:spMkLst>
        </pc:spChg>
        <pc:spChg chg="mod">
          <ac:chgData name="Evan Robert Tiffany" userId="ea4c46ce-7a72-4b91-a17d-36b338b5a71d" providerId="ADAL" clId="{02371397-AD8B-42F1-ACD0-926B18D9ED3A}" dt="2022-03-26T03:14:11.317" v="3438" actId="1076"/>
          <ac:spMkLst>
            <pc:docMk/>
            <pc:sldMk cId="4096158020" sldId="262"/>
            <ac:spMk id="223" creationId="{4B1FB252-0859-40B6-AD1D-2CE37F4C1C56}"/>
          </ac:spMkLst>
        </pc:spChg>
        <pc:spChg chg="mod">
          <ac:chgData name="Evan Robert Tiffany" userId="ea4c46ce-7a72-4b91-a17d-36b338b5a71d" providerId="ADAL" clId="{02371397-AD8B-42F1-ACD0-926B18D9ED3A}" dt="2022-03-26T03:14:11.317" v="3438" actId="1076"/>
          <ac:spMkLst>
            <pc:docMk/>
            <pc:sldMk cId="4096158020" sldId="262"/>
            <ac:spMk id="224" creationId="{2D2ED41D-684F-4F02-975D-3838473FAED1}"/>
          </ac:spMkLst>
        </pc:spChg>
        <pc:spChg chg="mod">
          <ac:chgData name="Evan Robert Tiffany" userId="ea4c46ce-7a72-4b91-a17d-36b338b5a71d" providerId="ADAL" clId="{02371397-AD8B-42F1-ACD0-926B18D9ED3A}" dt="2022-03-26T03:14:11.317" v="3438" actId="1076"/>
          <ac:spMkLst>
            <pc:docMk/>
            <pc:sldMk cId="4096158020" sldId="262"/>
            <ac:spMk id="225" creationId="{100BC8D6-6911-4007-8C7A-311B1FA6FD36}"/>
          </ac:spMkLst>
        </pc:spChg>
        <pc:spChg chg="mod">
          <ac:chgData name="Evan Robert Tiffany" userId="ea4c46ce-7a72-4b91-a17d-36b338b5a71d" providerId="ADAL" clId="{02371397-AD8B-42F1-ACD0-926B18D9ED3A}" dt="2022-03-26T03:14:11.317" v="3438" actId="1076"/>
          <ac:spMkLst>
            <pc:docMk/>
            <pc:sldMk cId="4096158020" sldId="262"/>
            <ac:spMk id="226" creationId="{56C3C49E-30FE-45E8-8117-D47C73223DE2}"/>
          </ac:spMkLst>
        </pc:spChg>
        <pc:spChg chg="mod">
          <ac:chgData name="Evan Robert Tiffany" userId="ea4c46ce-7a72-4b91-a17d-36b338b5a71d" providerId="ADAL" clId="{02371397-AD8B-42F1-ACD0-926B18D9ED3A}" dt="2022-03-26T03:14:11.317" v="3438" actId="1076"/>
          <ac:spMkLst>
            <pc:docMk/>
            <pc:sldMk cId="4096158020" sldId="262"/>
            <ac:spMk id="227" creationId="{38E11162-BBD6-41AB-B4AA-BA5F51CF3D43}"/>
          </ac:spMkLst>
        </pc:spChg>
        <pc:spChg chg="del mod">
          <ac:chgData name="Evan Robert Tiffany" userId="ea4c46ce-7a72-4b91-a17d-36b338b5a71d" providerId="ADAL" clId="{02371397-AD8B-42F1-ACD0-926B18D9ED3A}" dt="2022-03-25T17:23:39.882" v="2453" actId="478"/>
          <ac:spMkLst>
            <pc:docMk/>
            <pc:sldMk cId="4096158020" sldId="262"/>
            <ac:spMk id="243" creationId="{1B63A59F-560F-481F-B41D-BD5307741236}"/>
          </ac:spMkLst>
        </pc:spChg>
        <pc:spChg chg="del">
          <ac:chgData name="Evan Robert Tiffany" userId="ea4c46ce-7a72-4b91-a17d-36b338b5a71d" providerId="ADAL" clId="{02371397-AD8B-42F1-ACD0-926B18D9ED3A}" dt="2022-03-26T03:31:06.472" v="3527" actId="478"/>
          <ac:spMkLst>
            <pc:docMk/>
            <pc:sldMk cId="4096158020" sldId="262"/>
            <ac:spMk id="275" creationId="{22A5F105-99F6-4EC6-977E-48F46261DF75}"/>
          </ac:spMkLst>
        </pc:spChg>
        <pc:spChg chg="del mod">
          <ac:chgData name="Evan Robert Tiffany" userId="ea4c46ce-7a72-4b91-a17d-36b338b5a71d" providerId="ADAL" clId="{02371397-AD8B-42F1-ACD0-926B18D9ED3A}" dt="2022-03-25T17:20:22.364" v="2259" actId="478"/>
          <ac:spMkLst>
            <pc:docMk/>
            <pc:sldMk cId="4096158020" sldId="262"/>
            <ac:spMk id="276" creationId="{D8F4A5BA-6DC0-46A0-9E71-AC9518E61A52}"/>
          </ac:spMkLst>
        </pc:spChg>
        <pc:grpChg chg="del">
          <ac:chgData name="Evan Robert Tiffany" userId="ea4c46ce-7a72-4b91-a17d-36b338b5a71d" providerId="ADAL" clId="{02371397-AD8B-42F1-ACD0-926B18D9ED3A}" dt="2022-03-26T02:47:40.823" v="2478" actId="478"/>
          <ac:grpSpMkLst>
            <pc:docMk/>
            <pc:sldMk cId="4096158020" sldId="262"/>
            <ac:grpSpMk id="13" creationId="{FE935AEC-C7C1-4CE7-86F9-68E4D6ABF5AF}"/>
          </ac:grpSpMkLst>
        </pc:grpChg>
        <pc:grpChg chg="mod">
          <ac:chgData name="Evan Robert Tiffany" userId="ea4c46ce-7a72-4b91-a17d-36b338b5a71d" providerId="ADAL" clId="{02371397-AD8B-42F1-ACD0-926B18D9ED3A}" dt="2022-03-26T03:14:11.317" v="3438" actId="1076"/>
          <ac:grpSpMkLst>
            <pc:docMk/>
            <pc:sldMk cId="4096158020" sldId="262"/>
            <ac:grpSpMk id="171" creationId="{F371A091-A923-4C99-BD6E-589B77B8EC50}"/>
          </ac:grpSpMkLst>
        </pc:grpChg>
        <pc:grpChg chg="mod">
          <ac:chgData name="Evan Robert Tiffany" userId="ea4c46ce-7a72-4b91-a17d-36b338b5a71d" providerId="ADAL" clId="{02371397-AD8B-42F1-ACD0-926B18D9ED3A}" dt="2022-03-26T03:14:11.317" v="3438" actId="1076"/>
          <ac:grpSpMkLst>
            <pc:docMk/>
            <pc:sldMk cId="4096158020" sldId="262"/>
            <ac:grpSpMk id="172" creationId="{62BBDF36-E084-448D-93EC-5CB1DEC1C26E}"/>
          </ac:grpSpMkLst>
        </pc:grpChg>
        <pc:graphicFrameChg chg="del">
          <ac:chgData name="Evan Robert Tiffany" userId="ea4c46ce-7a72-4b91-a17d-36b338b5a71d" providerId="ADAL" clId="{02371397-AD8B-42F1-ACD0-926B18D9ED3A}" dt="2022-03-26T02:47:37.906" v="2477" actId="478"/>
          <ac:graphicFrameMkLst>
            <pc:docMk/>
            <pc:sldMk cId="4096158020" sldId="262"/>
            <ac:graphicFrameMk id="11" creationId="{10143042-D2B9-4053-A7F2-5571E82D4C38}"/>
          </ac:graphicFrameMkLst>
        </pc:graphicFrameChg>
        <pc:graphicFrameChg chg="add del mod">
          <ac:chgData name="Evan Robert Tiffany" userId="ea4c46ce-7a72-4b91-a17d-36b338b5a71d" providerId="ADAL" clId="{02371397-AD8B-42F1-ACD0-926B18D9ED3A}" dt="2022-03-26T03:25:25.850" v="3479" actId="478"/>
          <ac:graphicFrameMkLst>
            <pc:docMk/>
            <pc:sldMk cId="4096158020" sldId="262"/>
            <ac:graphicFrameMk id="12" creationId="{B6958591-1120-41FA-8AE4-3715483C6C5B}"/>
          </ac:graphicFrameMkLst>
        </pc:graphicFrameChg>
        <pc:graphicFrameChg chg="add mod modGraphic">
          <ac:chgData name="Evan Robert Tiffany" userId="ea4c46ce-7a72-4b91-a17d-36b338b5a71d" providerId="ADAL" clId="{02371397-AD8B-42F1-ACD0-926B18D9ED3A}" dt="2022-03-26T03:29:22.841" v="3526" actId="20577"/>
          <ac:graphicFrameMkLst>
            <pc:docMk/>
            <pc:sldMk cId="4096158020" sldId="262"/>
            <ac:graphicFrameMk id="18" creationId="{EF5C91E8-517A-4DFB-987C-D413B1C851F6}"/>
          </ac:graphicFrameMkLst>
        </pc:graphicFrameChg>
        <pc:graphicFrameChg chg="del modGraphic">
          <ac:chgData name="Evan Robert Tiffany" userId="ea4c46ce-7a72-4b91-a17d-36b338b5a71d" providerId="ADAL" clId="{02371397-AD8B-42F1-ACD0-926B18D9ED3A}" dt="2022-03-04T21:25:30.973" v="1500" actId="478"/>
          <ac:graphicFrameMkLst>
            <pc:docMk/>
            <pc:sldMk cId="4096158020" sldId="262"/>
            <ac:graphicFrameMk id="45" creationId="{D56A7F11-5D5B-F240-B18D-C0F85AC2B588}"/>
          </ac:graphicFrameMkLst>
        </pc:graphicFrameChg>
        <pc:picChg chg="add del">
          <ac:chgData name="Evan Robert Tiffany" userId="ea4c46ce-7a72-4b91-a17d-36b338b5a71d" providerId="ADAL" clId="{02371397-AD8B-42F1-ACD0-926B18D9ED3A}" dt="2022-03-26T03:23:41.875" v="3469" actId="478"/>
          <ac:picMkLst>
            <pc:docMk/>
            <pc:sldMk cId="4096158020" sldId="262"/>
            <ac:picMk id="3" creationId="{4DC09F42-ED53-4275-91AE-AC7E2C84DC64}"/>
          </ac:picMkLst>
        </pc:picChg>
        <pc:picChg chg="add mod">
          <ac:chgData name="Evan Robert Tiffany" userId="ea4c46ce-7a72-4b91-a17d-36b338b5a71d" providerId="ADAL" clId="{02371397-AD8B-42F1-ACD0-926B18D9ED3A}" dt="2022-03-04T21:26:03.638" v="1507" actId="14100"/>
          <ac:picMkLst>
            <pc:docMk/>
            <pc:sldMk cId="4096158020" sldId="262"/>
            <ac:picMk id="10" creationId="{11DEDD81-DBEE-4442-ABF6-CB37773C2E9D}"/>
          </ac:picMkLst>
        </pc:picChg>
        <pc:picChg chg="add mod">
          <ac:chgData name="Evan Robert Tiffany" userId="ea4c46ce-7a72-4b91-a17d-36b338b5a71d" providerId="ADAL" clId="{02371397-AD8B-42F1-ACD0-926B18D9ED3A}" dt="2022-03-04T21:28:07.639" v="1513" actId="1076"/>
          <ac:picMkLst>
            <pc:docMk/>
            <pc:sldMk cId="4096158020" sldId="262"/>
            <ac:picMk id="12" creationId="{41735675-9679-4A08-B99B-F9A46CFD6C0B}"/>
          </ac:picMkLst>
        </pc:picChg>
        <pc:picChg chg="add mod">
          <ac:chgData name="Evan Robert Tiffany" userId="ea4c46ce-7a72-4b91-a17d-36b338b5a71d" providerId="ADAL" clId="{02371397-AD8B-42F1-ACD0-926B18D9ED3A}" dt="2022-03-04T21:28:46.114" v="1515" actId="1076"/>
          <ac:picMkLst>
            <pc:docMk/>
            <pc:sldMk cId="4096158020" sldId="262"/>
            <ac:picMk id="150" creationId="{82B316AA-067B-469E-BE39-D556B8E1A6E3}"/>
          </ac:picMkLst>
        </pc:picChg>
        <pc:picChg chg="add mod">
          <ac:chgData name="Evan Robert Tiffany" userId="ea4c46ce-7a72-4b91-a17d-36b338b5a71d" providerId="ADAL" clId="{02371397-AD8B-42F1-ACD0-926B18D9ED3A}" dt="2022-03-04T21:29:09.382" v="1518" actId="1076"/>
          <ac:picMkLst>
            <pc:docMk/>
            <pc:sldMk cId="4096158020" sldId="262"/>
            <ac:picMk id="151" creationId="{D0B6D7B7-6C3D-44EF-8789-B6A68CC3A01C}"/>
          </ac:picMkLst>
        </pc:picChg>
        <pc:picChg chg="mod">
          <ac:chgData name="Evan Robert Tiffany" userId="ea4c46ce-7a72-4b91-a17d-36b338b5a71d" providerId="ADAL" clId="{02371397-AD8B-42F1-ACD0-926B18D9ED3A}" dt="2022-03-26T03:14:11.317" v="3438" actId="1076"/>
          <ac:picMkLst>
            <pc:docMk/>
            <pc:sldMk cId="4096158020" sldId="262"/>
            <ac:picMk id="153" creationId="{A0B942B5-4736-44C1-92EC-7540878FBBFC}"/>
          </ac:picMkLst>
        </pc:picChg>
        <pc:picChg chg="mod">
          <ac:chgData name="Evan Robert Tiffany" userId="ea4c46ce-7a72-4b91-a17d-36b338b5a71d" providerId="ADAL" clId="{02371397-AD8B-42F1-ACD0-926B18D9ED3A}" dt="2022-03-26T03:14:11.317" v="3438" actId="1076"/>
          <ac:picMkLst>
            <pc:docMk/>
            <pc:sldMk cId="4096158020" sldId="262"/>
            <ac:picMk id="154" creationId="{C5F767D6-7853-4F58-9DF5-1EFD946ADB25}"/>
          </ac:picMkLst>
        </pc:picChg>
        <pc:picChg chg="mod">
          <ac:chgData name="Evan Robert Tiffany" userId="ea4c46ce-7a72-4b91-a17d-36b338b5a71d" providerId="ADAL" clId="{02371397-AD8B-42F1-ACD0-926B18D9ED3A}" dt="2022-03-26T03:14:11.317" v="3438" actId="1076"/>
          <ac:picMkLst>
            <pc:docMk/>
            <pc:sldMk cId="4096158020" sldId="262"/>
            <ac:picMk id="155" creationId="{039138A8-CF30-417E-868C-4D2494CA10E2}"/>
          </ac:picMkLst>
        </pc:picChg>
        <pc:picChg chg="add mod">
          <ac:chgData name="Evan Robert Tiffany" userId="ea4c46ce-7a72-4b91-a17d-36b338b5a71d" providerId="ADAL" clId="{02371397-AD8B-42F1-ACD0-926B18D9ED3A}" dt="2022-03-04T21:29:43.128" v="1521" actId="1076"/>
          <ac:picMkLst>
            <pc:docMk/>
            <pc:sldMk cId="4096158020" sldId="262"/>
            <ac:picMk id="159" creationId="{6892A07D-EC98-420D-9ABA-742B2C285ACA}"/>
          </ac:picMkLst>
        </pc:picChg>
        <pc:picChg chg="add del mod">
          <ac:chgData name="Evan Robert Tiffany" userId="ea4c46ce-7a72-4b91-a17d-36b338b5a71d" providerId="ADAL" clId="{02371397-AD8B-42F1-ACD0-926B18D9ED3A}" dt="2022-03-04T21:32:03.965" v="1535" actId="478"/>
          <ac:picMkLst>
            <pc:docMk/>
            <pc:sldMk cId="4096158020" sldId="262"/>
            <ac:picMk id="160" creationId="{0FF64043-CE69-4F16-BF51-C7C0A424EC69}"/>
          </ac:picMkLst>
        </pc:picChg>
        <pc:picChg chg="add mod">
          <ac:chgData name="Evan Robert Tiffany" userId="ea4c46ce-7a72-4b91-a17d-36b338b5a71d" providerId="ADAL" clId="{02371397-AD8B-42F1-ACD0-926B18D9ED3A}" dt="2022-03-04T21:30:21.564" v="1527" actId="1076"/>
          <ac:picMkLst>
            <pc:docMk/>
            <pc:sldMk cId="4096158020" sldId="262"/>
            <ac:picMk id="161" creationId="{57E448D9-596F-4537-BC4B-7914D0890B15}"/>
          </ac:picMkLst>
        </pc:picChg>
        <pc:picChg chg="mod">
          <ac:chgData name="Evan Robert Tiffany" userId="ea4c46ce-7a72-4b91-a17d-36b338b5a71d" providerId="ADAL" clId="{02371397-AD8B-42F1-ACD0-926B18D9ED3A}" dt="2022-03-26T03:14:11.317" v="3438" actId="1076"/>
          <ac:picMkLst>
            <pc:docMk/>
            <pc:sldMk cId="4096158020" sldId="262"/>
            <ac:picMk id="163" creationId="{392BFE80-9A19-4B64-B428-8950AFE7D399}"/>
          </ac:picMkLst>
        </pc:picChg>
        <pc:picChg chg="mod">
          <ac:chgData name="Evan Robert Tiffany" userId="ea4c46ce-7a72-4b91-a17d-36b338b5a71d" providerId="ADAL" clId="{02371397-AD8B-42F1-ACD0-926B18D9ED3A}" dt="2022-03-26T03:14:11.317" v="3438" actId="1076"/>
          <ac:picMkLst>
            <pc:docMk/>
            <pc:sldMk cId="4096158020" sldId="262"/>
            <ac:picMk id="164" creationId="{ADF67F5E-42F5-47EF-8EBE-CAD7F6D55007}"/>
          </ac:picMkLst>
        </pc:picChg>
        <pc:picChg chg="mod">
          <ac:chgData name="Evan Robert Tiffany" userId="ea4c46ce-7a72-4b91-a17d-36b338b5a71d" providerId="ADAL" clId="{02371397-AD8B-42F1-ACD0-926B18D9ED3A}" dt="2022-03-26T03:14:11.317" v="3438" actId="1076"/>
          <ac:picMkLst>
            <pc:docMk/>
            <pc:sldMk cId="4096158020" sldId="262"/>
            <ac:picMk id="165" creationId="{2728B3C1-28E0-4AE1-A3F9-892DE3162C30}"/>
          </ac:picMkLst>
        </pc:picChg>
        <pc:picChg chg="mod">
          <ac:chgData name="Evan Robert Tiffany" userId="ea4c46ce-7a72-4b91-a17d-36b338b5a71d" providerId="ADAL" clId="{02371397-AD8B-42F1-ACD0-926B18D9ED3A}" dt="2022-03-26T03:14:11.317" v="3438" actId="1076"/>
          <ac:picMkLst>
            <pc:docMk/>
            <pc:sldMk cId="4096158020" sldId="262"/>
            <ac:picMk id="166" creationId="{7E01EEE4-5221-41BF-8991-DA529DF713DE}"/>
          </ac:picMkLst>
        </pc:picChg>
        <pc:picChg chg="add mod">
          <ac:chgData name="Evan Robert Tiffany" userId="ea4c46ce-7a72-4b91-a17d-36b338b5a71d" providerId="ADAL" clId="{02371397-AD8B-42F1-ACD0-926B18D9ED3A}" dt="2022-03-04T21:30:15.354" v="1526" actId="1076"/>
          <ac:picMkLst>
            <pc:docMk/>
            <pc:sldMk cId="4096158020" sldId="262"/>
            <ac:picMk id="167" creationId="{F29D4496-1343-4C50-BDB3-95FF7C0F32BE}"/>
          </ac:picMkLst>
        </pc:picChg>
        <pc:picChg chg="add mod">
          <ac:chgData name="Evan Robert Tiffany" userId="ea4c46ce-7a72-4b91-a17d-36b338b5a71d" providerId="ADAL" clId="{02371397-AD8B-42F1-ACD0-926B18D9ED3A}" dt="2022-03-04T21:31:11.261" v="1529" actId="1076"/>
          <ac:picMkLst>
            <pc:docMk/>
            <pc:sldMk cId="4096158020" sldId="262"/>
            <ac:picMk id="170" creationId="{31152D44-571A-46DD-B488-5FDF062DDD1A}"/>
          </ac:picMkLst>
        </pc:picChg>
        <pc:picChg chg="add mod">
          <ac:chgData name="Evan Robert Tiffany" userId="ea4c46ce-7a72-4b91-a17d-36b338b5a71d" providerId="ADAL" clId="{02371397-AD8B-42F1-ACD0-926B18D9ED3A}" dt="2022-03-04T21:31:37.733" v="1533" actId="1076"/>
          <ac:picMkLst>
            <pc:docMk/>
            <pc:sldMk cId="4096158020" sldId="262"/>
            <ac:picMk id="184" creationId="{D39F1883-6D07-4C46-92EA-01B6FC8A9E3B}"/>
          </ac:picMkLst>
        </pc:picChg>
        <pc:picChg chg="add mod">
          <ac:chgData name="Evan Robert Tiffany" userId="ea4c46ce-7a72-4b91-a17d-36b338b5a71d" providerId="ADAL" clId="{02371397-AD8B-42F1-ACD0-926B18D9ED3A}" dt="2022-03-04T21:31:43.560" v="1534" actId="1076"/>
          <ac:picMkLst>
            <pc:docMk/>
            <pc:sldMk cId="4096158020" sldId="262"/>
            <ac:picMk id="190" creationId="{5DA10BD2-F08D-4B86-8CFE-374CA0CCEDEB}"/>
          </ac:picMkLst>
        </pc:picChg>
        <pc:picChg chg="add mod">
          <ac:chgData name="Evan Robert Tiffany" userId="ea4c46ce-7a72-4b91-a17d-36b338b5a71d" providerId="ADAL" clId="{02371397-AD8B-42F1-ACD0-926B18D9ED3A}" dt="2022-03-04T21:32:17.462" v="1537" actId="1076"/>
          <ac:picMkLst>
            <pc:docMk/>
            <pc:sldMk cId="4096158020" sldId="262"/>
            <ac:picMk id="191" creationId="{F1C537FA-50B4-4F82-A962-B9E5E45A9A17}"/>
          </ac:picMkLst>
        </pc:picChg>
        <pc:picChg chg="add mod">
          <ac:chgData name="Evan Robert Tiffany" userId="ea4c46ce-7a72-4b91-a17d-36b338b5a71d" providerId="ADAL" clId="{02371397-AD8B-42F1-ACD0-926B18D9ED3A}" dt="2022-03-04T21:32:25.014" v="1539" actId="1076"/>
          <ac:picMkLst>
            <pc:docMk/>
            <pc:sldMk cId="4096158020" sldId="262"/>
            <ac:picMk id="192" creationId="{7FF268B4-7823-46A5-9AEC-A58B4E4844DC}"/>
          </ac:picMkLst>
        </pc:picChg>
      </pc:sldChg>
    </pc:docChg>
  </pc:docChgLst>
  <pc:docChgLst>
    <pc:chgData name="Sathiyamurthy, Surya" userId="c54ee02c-8e9a-4b7d-aab4-004599faea71" providerId="ADAL" clId="{256701E8-6AD2-45F6-9289-CBAB9606D423}"/>
    <pc:docChg chg="undo redo custSel modSld">
      <pc:chgData name="Sathiyamurthy, Surya" userId="c54ee02c-8e9a-4b7d-aab4-004599faea71" providerId="ADAL" clId="{256701E8-6AD2-45F6-9289-CBAB9606D423}" dt="2022-03-29T00:38:30.455" v="2354" actId="1038"/>
      <pc:docMkLst>
        <pc:docMk/>
      </pc:docMkLst>
      <pc:sldChg chg="addSp delSp modSp mod">
        <pc:chgData name="Sathiyamurthy, Surya" userId="c54ee02c-8e9a-4b7d-aab4-004599faea71" providerId="ADAL" clId="{256701E8-6AD2-45F6-9289-CBAB9606D423}" dt="2022-03-29T00:38:30.455" v="2354" actId="1038"/>
        <pc:sldMkLst>
          <pc:docMk/>
          <pc:sldMk cId="4096158020" sldId="262"/>
        </pc:sldMkLst>
        <pc:spChg chg="mod">
          <ac:chgData name="Sathiyamurthy, Surya" userId="c54ee02c-8e9a-4b7d-aab4-004599faea71" providerId="ADAL" clId="{256701E8-6AD2-45F6-9289-CBAB9606D423}" dt="2022-03-25T06:09:52.660" v="489" actId="2711"/>
          <ac:spMkLst>
            <pc:docMk/>
            <pc:sldMk cId="4096158020" sldId="262"/>
            <ac:spMk id="4" creationId="{7F1D5313-A7CD-224A-9618-4E3F37D541A4}"/>
          </ac:spMkLst>
        </pc:spChg>
        <pc:spChg chg="mod">
          <ac:chgData name="Sathiyamurthy, Surya" userId="c54ee02c-8e9a-4b7d-aab4-004599faea71" providerId="ADAL" clId="{256701E8-6AD2-45F6-9289-CBAB9606D423}" dt="2022-03-25T06:09:52.660" v="489" actId="2711"/>
          <ac:spMkLst>
            <pc:docMk/>
            <pc:sldMk cId="4096158020" sldId="262"/>
            <ac:spMk id="5" creationId="{6B44E15B-AD84-E248-8486-A835618F9585}"/>
          </ac:spMkLst>
        </pc:spChg>
        <pc:spChg chg="mod">
          <ac:chgData name="Sathiyamurthy, Surya" userId="c54ee02c-8e9a-4b7d-aab4-004599faea71" providerId="ADAL" clId="{256701E8-6AD2-45F6-9289-CBAB9606D423}" dt="2022-03-25T06:09:52.660" v="489" actId="2711"/>
          <ac:spMkLst>
            <pc:docMk/>
            <pc:sldMk cId="4096158020" sldId="262"/>
            <ac:spMk id="6" creationId="{C04C1467-AA9F-AC44-A9EA-C8027648523B}"/>
          </ac:spMkLst>
        </pc:spChg>
        <pc:spChg chg="mod">
          <ac:chgData name="Sathiyamurthy, Surya" userId="c54ee02c-8e9a-4b7d-aab4-004599faea71" providerId="ADAL" clId="{256701E8-6AD2-45F6-9289-CBAB9606D423}" dt="2022-03-25T06:09:52.660" v="489" actId="2711"/>
          <ac:spMkLst>
            <pc:docMk/>
            <pc:sldMk cId="4096158020" sldId="262"/>
            <ac:spMk id="7" creationId="{43255538-6601-CD43-90F8-F249661FBACA}"/>
          </ac:spMkLst>
        </pc:spChg>
        <pc:spChg chg="mod">
          <ac:chgData name="Sathiyamurthy, Surya" userId="c54ee02c-8e9a-4b7d-aab4-004599faea71" providerId="ADAL" clId="{256701E8-6AD2-45F6-9289-CBAB9606D423}" dt="2022-03-25T06:09:52.660" v="489" actId="2711"/>
          <ac:spMkLst>
            <pc:docMk/>
            <pc:sldMk cId="4096158020" sldId="262"/>
            <ac:spMk id="8" creationId="{4EC5C8DC-2943-674D-AC0B-5A223EFB9DFE}"/>
          </ac:spMkLst>
        </pc:spChg>
        <pc:spChg chg="mod">
          <ac:chgData name="Sathiyamurthy, Surya" userId="c54ee02c-8e9a-4b7d-aab4-004599faea71" providerId="ADAL" clId="{256701E8-6AD2-45F6-9289-CBAB9606D423}" dt="2022-03-25T06:09:52.660" v="489" actId="2711"/>
          <ac:spMkLst>
            <pc:docMk/>
            <pc:sldMk cId="4096158020" sldId="262"/>
            <ac:spMk id="9" creationId="{6F2E9070-9489-5448-8F2E-39BDAC89CC91}"/>
          </ac:spMkLst>
        </pc:spChg>
        <pc:spChg chg="add mod">
          <ac:chgData name="Sathiyamurthy, Surya" userId="c54ee02c-8e9a-4b7d-aab4-004599faea71" providerId="ADAL" clId="{256701E8-6AD2-45F6-9289-CBAB9606D423}" dt="2022-03-25T06:31:51.726" v="1511" actId="404"/>
          <ac:spMkLst>
            <pc:docMk/>
            <pc:sldMk cId="4096158020" sldId="262"/>
            <ac:spMk id="14" creationId="{97614249-28AA-4F18-902D-CDD30348D499}"/>
          </ac:spMkLst>
        </pc:spChg>
        <pc:spChg chg="mod">
          <ac:chgData name="Sathiyamurthy, Surya" userId="c54ee02c-8e9a-4b7d-aab4-004599faea71" providerId="ADAL" clId="{256701E8-6AD2-45F6-9289-CBAB9606D423}" dt="2022-03-25T06:09:52.660" v="489" actId="2711"/>
          <ac:spMkLst>
            <pc:docMk/>
            <pc:sldMk cId="4096158020" sldId="262"/>
            <ac:spMk id="41" creationId="{DF12BBF8-995C-7F45-94BB-D99EE48ED1AB}"/>
          </ac:spMkLst>
        </pc:spChg>
        <pc:spChg chg="mod">
          <ac:chgData name="Sathiyamurthy, Surya" userId="c54ee02c-8e9a-4b7d-aab4-004599faea71" providerId="ADAL" clId="{256701E8-6AD2-45F6-9289-CBAB9606D423}" dt="2022-03-25T06:09:52.660" v="489" actId="2711"/>
          <ac:spMkLst>
            <pc:docMk/>
            <pc:sldMk cId="4096158020" sldId="262"/>
            <ac:spMk id="42" creationId="{D92DB5B5-5EB2-844F-8102-BFDAA8558319}"/>
          </ac:spMkLst>
        </pc:spChg>
        <pc:spChg chg="mod">
          <ac:chgData name="Sathiyamurthy, Surya" userId="c54ee02c-8e9a-4b7d-aab4-004599faea71" providerId="ADAL" clId="{256701E8-6AD2-45F6-9289-CBAB9606D423}" dt="2022-03-26T19:42:59.973" v="2160" actId="1036"/>
          <ac:spMkLst>
            <pc:docMk/>
            <pc:sldMk cId="4096158020" sldId="262"/>
            <ac:spMk id="43" creationId="{803D5AFD-8A7F-964B-90CF-A176ECDB2337}"/>
          </ac:spMkLst>
        </pc:spChg>
        <pc:spChg chg="mod">
          <ac:chgData name="Sathiyamurthy, Surya" userId="c54ee02c-8e9a-4b7d-aab4-004599faea71" providerId="ADAL" clId="{256701E8-6AD2-45F6-9289-CBAB9606D423}" dt="2022-03-26T19:42:59.973" v="2160" actId="1036"/>
          <ac:spMkLst>
            <pc:docMk/>
            <pc:sldMk cId="4096158020" sldId="262"/>
            <ac:spMk id="44" creationId="{EE4CC1A1-8CAB-8B42-8965-ECE0927D951E}"/>
          </ac:spMkLst>
        </pc:spChg>
        <pc:spChg chg="mod">
          <ac:chgData name="Sathiyamurthy, Surya" userId="c54ee02c-8e9a-4b7d-aab4-004599faea71" providerId="ADAL" clId="{256701E8-6AD2-45F6-9289-CBAB9606D423}" dt="2022-03-26T19:30:26.561" v="1942" actId="1037"/>
          <ac:spMkLst>
            <pc:docMk/>
            <pc:sldMk cId="4096158020" sldId="262"/>
            <ac:spMk id="46" creationId="{629E306B-603B-694A-A8E1-71F5BED27672}"/>
          </ac:spMkLst>
        </pc:spChg>
        <pc:spChg chg="mod">
          <ac:chgData name="Sathiyamurthy, Surya" userId="c54ee02c-8e9a-4b7d-aab4-004599faea71" providerId="ADAL" clId="{256701E8-6AD2-45F6-9289-CBAB9606D423}" dt="2022-03-25T06:32:57.864" v="1570" actId="14100"/>
          <ac:spMkLst>
            <pc:docMk/>
            <pc:sldMk cId="4096158020" sldId="262"/>
            <ac:spMk id="52" creationId="{79C5E6D3-92DC-4B40-A3DC-9A41FDE74F45}"/>
          </ac:spMkLst>
        </pc:spChg>
        <pc:spChg chg="mod">
          <ac:chgData name="Sathiyamurthy, Surya" userId="c54ee02c-8e9a-4b7d-aab4-004599faea71" providerId="ADAL" clId="{256701E8-6AD2-45F6-9289-CBAB9606D423}" dt="2022-03-26T19:33:11.493" v="1975" actId="404"/>
          <ac:spMkLst>
            <pc:docMk/>
            <pc:sldMk cId="4096158020" sldId="262"/>
            <ac:spMk id="53" creationId="{F6B55F38-EF67-C748-A73D-5B4492FA143A}"/>
          </ac:spMkLst>
        </pc:spChg>
        <pc:spChg chg="mod">
          <ac:chgData name="Sathiyamurthy, Surya" userId="c54ee02c-8e9a-4b7d-aab4-004599faea71" providerId="ADAL" clId="{256701E8-6AD2-45F6-9289-CBAB9606D423}" dt="2022-03-25T06:25:43.438" v="1277" actId="1035"/>
          <ac:spMkLst>
            <pc:docMk/>
            <pc:sldMk cId="4096158020" sldId="262"/>
            <ac:spMk id="57" creationId="{E4A64FCA-BC03-B144-ABA4-9479987E99E4}"/>
          </ac:spMkLst>
        </pc:spChg>
        <pc:spChg chg="mod">
          <ac:chgData name="Sathiyamurthy, Surya" userId="c54ee02c-8e9a-4b7d-aab4-004599faea71" providerId="ADAL" clId="{256701E8-6AD2-45F6-9289-CBAB9606D423}" dt="2022-03-26T19:43:16.969" v="2172" actId="1038"/>
          <ac:spMkLst>
            <pc:docMk/>
            <pc:sldMk cId="4096158020" sldId="262"/>
            <ac:spMk id="67" creationId="{39B11AD9-C5E0-A543-A6A1-77B664E53688}"/>
          </ac:spMkLst>
        </pc:spChg>
        <pc:spChg chg="mod">
          <ac:chgData name="Sathiyamurthy, Surya" userId="c54ee02c-8e9a-4b7d-aab4-004599faea71" providerId="ADAL" clId="{256701E8-6AD2-45F6-9289-CBAB9606D423}" dt="2022-03-26T19:43:16.969" v="2172" actId="1038"/>
          <ac:spMkLst>
            <pc:docMk/>
            <pc:sldMk cId="4096158020" sldId="262"/>
            <ac:spMk id="68" creationId="{FD400E24-C324-3D44-852E-DF3DC7A509B6}"/>
          </ac:spMkLst>
        </pc:spChg>
        <pc:spChg chg="mod">
          <ac:chgData name="Sathiyamurthy, Surya" userId="c54ee02c-8e9a-4b7d-aab4-004599faea71" providerId="ADAL" clId="{256701E8-6AD2-45F6-9289-CBAB9606D423}" dt="2022-03-26T19:43:16.969" v="2172" actId="1038"/>
          <ac:spMkLst>
            <pc:docMk/>
            <pc:sldMk cId="4096158020" sldId="262"/>
            <ac:spMk id="69" creationId="{53509046-72C1-7E42-8CAE-407F24BB27A2}"/>
          </ac:spMkLst>
        </pc:spChg>
        <pc:spChg chg="mod">
          <ac:chgData name="Sathiyamurthy, Surya" userId="c54ee02c-8e9a-4b7d-aab4-004599faea71" providerId="ADAL" clId="{256701E8-6AD2-45F6-9289-CBAB9606D423}" dt="2022-03-26T19:36:40.930" v="2059" actId="1036"/>
          <ac:spMkLst>
            <pc:docMk/>
            <pc:sldMk cId="4096158020" sldId="262"/>
            <ac:spMk id="95" creationId="{7714F491-EE6E-7041-9287-C4DA8470748C}"/>
          </ac:spMkLst>
        </pc:spChg>
        <pc:spChg chg="del mod">
          <ac:chgData name="Sathiyamurthy, Surya" userId="c54ee02c-8e9a-4b7d-aab4-004599faea71" providerId="ADAL" clId="{256701E8-6AD2-45F6-9289-CBAB9606D423}" dt="2022-03-25T06:33:45.461" v="1575" actId="478"/>
          <ac:spMkLst>
            <pc:docMk/>
            <pc:sldMk cId="4096158020" sldId="262"/>
            <ac:spMk id="96" creationId="{3F2C1C76-2DC3-FC49-8493-7BBBB2C8C713}"/>
          </ac:spMkLst>
        </pc:spChg>
        <pc:spChg chg="mod">
          <ac:chgData name="Sathiyamurthy, Surya" userId="c54ee02c-8e9a-4b7d-aab4-004599faea71" providerId="ADAL" clId="{256701E8-6AD2-45F6-9289-CBAB9606D423}" dt="2022-03-26T19:43:16.969" v="2172" actId="1038"/>
          <ac:spMkLst>
            <pc:docMk/>
            <pc:sldMk cId="4096158020" sldId="262"/>
            <ac:spMk id="97" creationId="{90974D1A-B86E-264A-940C-9993B0C9492B}"/>
          </ac:spMkLst>
        </pc:spChg>
        <pc:spChg chg="mod">
          <ac:chgData name="Sathiyamurthy, Surya" userId="c54ee02c-8e9a-4b7d-aab4-004599faea71" providerId="ADAL" clId="{256701E8-6AD2-45F6-9289-CBAB9606D423}" dt="2022-03-25T06:09:52.660" v="489" actId="2711"/>
          <ac:spMkLst>
            <pc:docMk/>
            <pc:sldMk cId="4096158020" sldId="262"/>
            <ac:spMk id="98" creationId="{1D3FC686-EB21-2643-9936-3A1A6E6E82B0}"/>
          </ac:spMkLst>
        </pc:spChg>
        <pc:spChg chg="mod">
          <ac:chgData name="Sathiyamurthy, Surya" userId="c54ee02c-8e9a-4b7d-aab4-004599faea71" providerId="ADAL" clId="{256701E8-6AD2-45F6-9289-CBAB9606D423}" dt="2022-03-25T06:09:52.660" v="489" actId="2711"/>
          <ac:spMkLst>
            <pc:docMk/>
            <pc:sldMk cId="4096158020" sldId="262"/>
            <ac:spMk id="99" creationId="{020E1386-BDA5-5346-AA83-153C667534B4}"/>
          </ac:spMkLst>
        </pc:spChg>
        <pc:spChg chg="mod">
          <ac:chgData name="Sathiyamurthy, Surya" userId="c54ee02c-8e9a-4b7d-aab4-004599faea71" providerId="ADAL" clId="{256701E8-6AD2-45F6-9289-CBAB9606D423}" dt="2022-03-25T06:10:33.952" v="511" actId="207"/>
          <ac:spMkLst>
            <pc:docMk/>
            <pc:sldMk cId="4096158020" sldId="262"/>
            <ac:spMk id="100" creationId="{DEF65FC7-BAC5-324C-AFB9-A79367124296}"/>
          </ac:spMkLst>
        </pc:spChg>
        <pc:spChg chg="mod">
          <ac:chgData name="Sathiyamurthy, Surya" userId="c54ee02c-8e9a-4b7d-aab4-004599faea71" providerId="ADAL" clId="{256701E8-6AD2-45F6-9289-CBAB9606D423}" dt="2022-03-29T00:38:30.455" v="2354" actId="1038"/>
          <ac:spMkLst>
            <pc:docMk/>
            <pc:sldMk cId="4096158020" sldId="262"/>
            <ac:spMk id="105" creationId="{21F29DFD-7BF6-4B82-B8D1-85D023E6EC32}"/>
          </ac:spMkLst>
        </pc:spChg>
        <pc:spChg chg="mod">
          <ac:chgData name="Sathiyamurthy, Surya" userId="c54ee02c-8e9a-4b7d-aab4-004599faea71" providerId="ADAL" clId="{256701E8-6AD2-45F6-9289-CBAB9606D423}" dt="2022-03-25T06:09:52.660" v="489" actId="2711"/>
          <ac:spMkLst>
            <pc:docMk/>
            <pc:sldMk cId="4096158020" sldId="262"/>
            <ac:spMk id="115" creationId="{C8AE35F7-613C-4A84-8BAE-6E663EE5F55F}"/>
          </ac:spMkLst>
        </pc:spChg>
        <pc:spChg chg="mod">
          <ac:chgData name="Sathiyamurthy, Surya" userId="c54ee02c-8e9a-4b7d-aab4-004599faea71" providerId="ADAL" clId="{256701E8-6AD2-45F6-9289-CBAB9606D423}" dt="2022-03-25T06:09:52.660" v="489" actId="2711"/>
          <ac:spMkLst>
            <pc:docMk/>
            <pc:sldMk cId="4096158020" sldId="262"/>
            <ac:spMk id="117" creationId="{4C2C84C8-B7AD-4097-B76F-1076F7F41236}"/>
          </ac:spMkLst>
        </pc:spChg>
        <pc:spChg chg="mod">
          <ac:chgData name="Sathiyamurthy, Surya" userId="c54ee02c-8e9a-4b7d-aab4-004599faea71" providerId="ADAL" clId="{256701E8-6AD2-45F6-9289-CBAB9606D423}" dt="2022-03-25T06:09:52.660" v="489" actId="2711"/>
          <ac:spMkLst>
            <pc:docMk/>
            <pc:sldMk cId="4096158020" sldId="262"/>
            <ac:spMk id="118" creationId="{0A9888E9-E74E-40D3-8188-C401AE27CC66}"/>
          </ac:spMkLst>
        </pc:spChg>
        <pc:spChg chg="mod">
          <ac:chgData name="Sathiyamurthy, Surya" userId="c54ee02c-8e9a-4b7d-aab4-004599faea71" providerId="ADAL" clId="{256701E8-6AD2-45F6-9289-CBAB9606D423}" dt="2022-03-25T06:09:52.660" v="489" actId="2711"/>
          <ac:spMkLst>
            <pc:docMk/>
            <pc:sldMk cId="4096158020" sldId="262"/>
            <ac:spMk id="119" creationId="{4FB5416C-DE72-43F8-B077-D8539D88D434}"/>
          </ac:spMkLst>
        </pc:spChg>
        <pc:spChg chg="mod">
          <ac:chgData name="Sathiyamurthy, Surya" userId="c54ee02c-8e9a-4b7d-aab4-004599faea71" providerId="ADAL" clId="{256701E8-6AD2-45F6-9289-CBAB9606D423}" dt="2022-03-25T06:14:42.850" v="750" actId="14100"/>
          <ac:spMkLst>
            <pc:docMk/>
            <pc:sldMk cId="4096158020" sldId="262"/>
            <ac:spMk id="120" creationId="{5B9E372B-EFCC-4F42-A2BE-B52898111480}"/>
          </ac:spMkLst>
        </pc:spChg>
        <pc:spChg chg="mod">
          <ac:chgData name="Sathiyamurthy, Surya" userId="c54ee02c-8e9a-4b7d-aab4-004599faea71" providerId="ADAL" clId="{256701E8-6AD2-45F6-9289-CBAB9606D423}" dt="2022-03-26T19:37:55.127" v="2077" actId="255"/>
          <ac:spMkLst>
            <pc:docMk/>
            <pc:sldMk cId="4096158020" sldId="262"/>
            <ac:spMk id="121" creationId="{4035F42A-E3E7-4C81-AB64-EF4617B7EB22}"/>
          </ac:spMkLst>
        </pc:spChg>
        <pc:spChg chg="mod">
          <ac:chgData name="Sathiyamurthy, Surya" userId="c54ee02c-8e9a-4b7d-aab4-004599faea71" providerId="ADAL" clId="{256701E8-6AD2-45F6-9289-CBAB9606D423}" dt="2022-03-25T06:09:52.660" v="489" actId="2711"/>
          <ac:spMkLst>
            <pc:docMk/>
            <pc:sldMk cId="4096158020" sldId="262"/>
            <ac:spMk id="122" creationId="{3E4C133B-7B50-4CD5-AE26-AC25A3D533E7}"/>
          </ac:spMkLst>
        </pc:spChg>
        <pc:spChg chg="mod">
          <ac:chgData name="Sathiyamurthy, Surya" userId="c54ee02c-8e9a-4b7d-aab4-004599faea71" providerId="ADAL" clId="{256701E8-6AD2-45F6-9289-CBAB9606D423}" dt="2022-03-26T19:37:55.127" v="2077" actId="255"/>
          <ac:spMkLst>
            <pc:docMk/>
            <pc:sldMk cId="4096158020" sldId="262"/>
            <ac:spMk id="124" creationId="{B6C2145A-A299-4ED1-B70C-4BDC186B36B3}"/>
          </ac:spMkLst>
        </pc:spChg>
        <pc:spChg chg="mod">
          <ac:chgData name="Sathiyamurthy, Surya" userId="c54ee02c-8e9a-4b7d-aab4-004599faea71" providerId="ADAL" clId="{256701E8-6AD2-45F6-9289-CBAB9606D423}" dt="2022-03-26T19:37:58.609" v="2078" actId="403"/>
          <ac:spMkLst>
            <pc:docMk/>
            <pc:sldMk cId="4096158020" sldId="262"/>
            <ac:spMk id="125" creationId="{923242EC-DA09-4944-AC13-3B2E7DC17A80}"/>
          </ac:spMkLst>
        </pc:spChg>
        <pc:spChg chg="mod">
          <ac:chgData name="Sathiyamurthy, Surya" userId="c54ee02c-8e9a-4b7d-aab4-004599faea71" providerId="ADAL" clId="{256701E8-6AD2-45F6-9289-CBAB9606D423}" dt="2022-03-25T06:09:52.660" v="489" actId="2711"/>
          <ac:spMkLst>
            <pc:docMk/>
            <pc:sldMk cId="4096158020" sldId="262"/>
            <ac:spMk id="126" creationId="{2EEDBBFB-97DE-4C97-AA29-09FEC1BDA867}"/>
          </ac:spMkLst>
        </pc:spChg>
        <pc:spChg chg="mod">
          <ac:chgData name="Sathiyamurthy, Surya" userId="c54ee02c-8e9a-4b7d-aab4-004599faea71" providerId="ADAL" clId="{256701E8-6AD2-45F6-9289-CBAB9606D423}" dt="2022-03-25T06:09:52.660" v="489" actId="2711"/>
          <ac:spMkLst>
            <pc:docMk/>
            <pc:sldMk cId="4096158020" sldId="262"/>
            <ac:spMk id="127" creationId="{E2D4CEED-C867-42A1-950C-0F02A436C78A}"/>
          </ac:spMkLst>
        </pc:spChg>
        <pc:spChg chg="mod">
          <ac:chgData name="Sathiyamurthy, Surya" userId="c54ee02c-8e9a-4b7d-aab4-004599faea71" providerId="ADAL" clId="{256701E8-6AD2-45F6-9289-CBAB9606D423}" dt="2022-03-25T06:09:52.660" v="489" actId="2711"/>
          <ac:spMkLst>
            <pc:docMk/>
            <pc:sldMk cId="4096158020" sldId="262"/>
            <ac:spMk id="128" creationId="{EBDBF738-0B76-4CB5-A754-DFEDC25A0C8A}"/>
          </ac:spMkLst>
        </pc:spChg>
        <pc:spChg chg="mod">
          <ac:chgData name="Sathiyamurthy, Surya" userId="c54ee02c-8e9a-4b7d-aab4-004599faea71" providerId="ADAL" clId="{256701E8-6AD2-45F6-9289-CBAB9606D423}" dt="2022-03-25T06:09:52.660" v="489" actId="2711"/>
          <ac:spMkLst>
            <pc:docMk/>
            <pc:sldMk cId="4096158020" sldId="262"/>
            <ac:spMk id="129" creationId="{93469BBA-1AA4-4FAE-A6B9-0B626135BC47}"/>
          </ac:spMkLst>
        </pc:spChg>
        <pc:spChg chg="mod">
          <ac:chgData name="Sathiyamurthy, Surya" userId="c54ee02c-8e9a-4b7d-aab4-004599faea71" providerId="ADAL" clId="{256701E8-6AD2-45F6-9289-CBAB9606D423}" dt="2022-03-25T06:09:52.660" v="489" actId="2711"/>
          <ac:spMkLst>
            <pc:docMk/>
            <pc:sldMk cId="4096158020" sldId="262"/>
            <ac:spMk id="130" creationId="{4001728D-C8DA-449C-A690-8E133E914432}"/>
          </ac:spMkLst>
        </pc:spChg>
        <pc:spChg chg="mod">
          <ac:chgData name="Sathiyamurthy, Surya" userId="c54ee02c-8e9a-4b7d-aab4-004599faea71" providerId="ADAL" clId="{256701E8-6AD2-45F6-9289-CBAB9606D423}" dt="2022-03-25T06:16:36.944" v="870" actId="20577"/>
          <ac:spMkLst>
            <pc:docMk/>
            <pc:sldMk cId="4096158020" sldId="262"/>
            <ac:spMk id="131" creationId="{957A79D5-9E32-4BA4-9C6E-FC34A0FC5521}"/>
          </ac:spMkLst>
        </pc:spChg>
        <pc:spChg chg="mod">
          <ac:chgData name="Sathiyamurthy, Surya" userId="c54ee02c-8e9a-4b7d-aab4-004599faea71" providerId="ADAL" clId="{256701E8-6AD2-45F6-9289-CBAB9606D423}" dt="2022-03-25T06:16:40.729" v="873" actId="20577"/>
          <ac:spMkLst>
            <pc:docMk/>
            <pc:sldMk cId="4096158020" sldId="262"/>
            <ac:spMk id="132" creationId="{86035E55-CF62-41C1-932D-366256FA7FB8}"/>
          </ac:spMkLst>
        </pc:spChg>
        <pc:spChg chg="mod">
          <ac:chgData name="Sathiyamurthy, Surya" userId="c54ee02c-8e9a-4b7d-aab4-004599faea71" providerId="ADAL" clId="{256701E8-6AD2-45F6-9289-CBAB9606D423}" dt="2022-03-25T06:17:03.441" v="912" actId="20577"/>
          <ac:spMkLst>
            <pc:docMk/>
            <pc:sldMk cId="4096158020" sldId="262"/>
            <ac:spMk id="133" creationId="{B2F34A7C-2DB4-4373-B2A9-94E6C881E6F2}"/>
          </ac:spMkLst>
        </pc:spChg>
        <pc:spChg chg="mod">
          <ac:chgData name="Sathiyamurthy, Surya" userId="c54ee02c-8e9a-4b7d-aab4-004599faea71" providerId="ADAL" clId="{256701E8-6AD2-45F6-9289-CBAB9606D423}" dt="2022-03-25T06:16:52.296" v="892" actId="20577"/>
          <ac:spMkLst>
            <pc:docMk/>
            <pc:sldMk cId="4096158020" sldId="262"/>
            <ac:spMk id="134" creationId="{7F59A3B4-A739-4130-AC1F-A7995117010F}"/>
          </ac:spMkLst>
        </pc:spChg>
        <pc:spChg chg="mod">
          <ac:chgData name="Sathiyamurthy, Surya" userId="c54ee02c-8e9a-4b7d-aab4-004599faea71" providerId="ADAL" clId="{256701E8-6AD2-45F6-9289-CBAB9606D423}" dt="2022-03-25T06:09:52.660" v="489" actId="2711"/>
          <ac:spMkLst>
            <pc:docMk/>
            <pc:sldMk cId="4096158020" sldId="262"/>
            <ac:spMk id="141" creationId="{857633A7-196C-40E7-8186-47587C09BDFC}"/>
          </ac:spMkLst>
        </pc:spChg>
        <pc:spChg chg="mod">
          <ac:chgData name="Sathiyamurthy, Surya" userId="c54ee02c-8e9a-4b7d-aab4-004599faea71" providerId="ADAL" clId="{256701E8-6AD2-45F6-9289-CBAB9606D423}" dt="2022-03-25T06:09:52.660" v="489" actId="2711"/>
          <ac:spMkLst>
            <pc:docMk/>
            <pc:sldMk cId="4096158020" sldId="262"/>
            <ac:spMk id="142" creationId="{5547C3F3-2E3C-4A24-921E-12864685E4D0}"/>
          </ac:spMkLst>
        </pc:spChg>
        <pc:spChg chg="mod">
          <ac:chgData name="Sathiyamurthy, Surya" userId="c54ee02c-8e9a-4b7d-aab4-004599faea71" providerId="ADAL" clId="{256701E8-6AD2-45F6-9289-CBAB9606D423}" dt="2022-03-25T06:09:52.660" v="489" actId="2711"/>
          <ac:spMkLst>
            <pc:docMk/>
            <pc:sldMk cId="4096158020" sldId="262"/>
            <ac:spMk id="143" creationId="{CE11662F-D3DF-4A4D-9E01-251B3F164D59}"/>
          </ac:spMkLst>
        </pc:spChg>
        <pc:spChg chg="mod">
          <ac:chgData name="Sathiyamurthy, Surya" userId="c54ee02c-8e9a-4b7d-aab4-004599faea71" providerId="ADAL" clId="{256701E8-6AD2-45F6-9289-CBAB9606D423}" dt="2022-03-25T06:09:52.660" v="489" actId="2711"/>
          <ac:spMkLst>
            <pc:docMk/>
            <pc:sldMk cId="4096158020" sldId="262"/>
            <ac:spMk id="149" creationId="{138DEF15-F60A-4856-B879-709F3D18E394}"/>
          </ac:spMkLst>
        </pc:spChg>
        <pc:spChg chg="mod">
          <ac:chgData name="Sathiyamurthy, Surya" userId="c54ee02c-8e9a-4b7d-aab4-004599faea71" providerId="ADAL" clId="{256701E8-6AD2-45F6-9289-CBAB9606D423}" dt="2022-03-26T19:38:26.623" v="2080" actId="403"/>
          <ac:spMkLst>
            <pc:docMk/>
            <pc:sldMk cId="4096158020" sldId="262"/>
            <ac:spMk id="152" creationId="{DB321640-A5E8-40F2-AFE9-EB953C45020C}"/>
          </ac:spMkLst>
        </pc:spChg>
        <pc:spChg chg="mod">
          <ac:chgData name="Sathiyamurthy, Surya" userId="c54ee02c-8e9a-4b7d-aab4-004599faea71" providerId="ADAL" clId="{256701E8-6AD2-45F6-9289-CBAB9606D423}" dt="2022-03-25T06:09:52.660" v="489" actId="2711"/>
          <ac:spMkLst>
            <pc:docMk/>
            <pc:sldMk cId="4096158020" sldId="262"/>
            <ac:spMk id="156" creationId="{9ED46A77-2A83-473F-8F75-3CB3F79FE994}"/>
          </ac:spMkLst>
        </pc:spChg>
        <pc:spChg chg="mod">
          <ac:chgData name="Sathiyamurthy, Surya" userId="c54ee02c-8e9a-4b7d-aab4-004599faea71" providerId="ADAL" clId="{256701E8-6AD2-45F6-9289-CBAB9606D423}" dt="2022-03-25T06:09:52.660" v="489" actId="2711"/>
          <ac:spMkLst>
            <pc:docMk/>
            <pc:sldMk cId="4096158020" sldId="262"/>
            <ac:spMk id="157" creationId="{0023CEBB-B79A-4041-AB99-865789BDB980}"/>
          </ac:spMkLst>
        </pc:spChg>
        <pc:spChg chg="mod">
          <ac:chgData name="Sathiyamurthy, Surya" userId="c54ee02c-8e9a-4b7d-aab4-004599faea71" providerId="ADAL" clId="{256701E8-6AD2-45F6-9289-CBAB9606D423}" dt="2022-03-25T06:09:52.660" v="489" actId="2711"/>
          <ac:spMkLst>
            <pc:docMk/>
            <pc:sldMk cId="4096158020" sldId="262"/>
            <ac:spMk id="158" creationId="{68603CD9-F297-4C7E-8005-9602966CAFE2}"/>
          </ac:spMkLst>
        </pc:spChg>
        <pc:spChg chg="mod">
          <ac:chgData name="Sathiyamurthy, Surya" userId="c54ee02c-8e9a-4b7d-aab4-004599faea71" providerId="ADAL" clId="{256701E8-6AD2-45F6-9289-CBAB9606D423}" dt="2022-03-25T06:17:32.632" v="924" actId="20577"/>
          <ac:spMkLst>
            <pc:docMk/>
            <pc:sldMk cId="4096158020" sldId="262"/>
            <ac:spMk id="160" creationId="{6BCE64E0-AA97-4D59-8FD3-0261E075D38D}"/>
          </ac:spMkLst>
        </pc:spChg>
        <pc:spChg chg="mod">
          <ac:chgData name="Sathiyamurthy, Surya" userId="c54ee02c-8e9a-4b7d-aab4-004599faea71" providerId="ADAL" clId="{256701E8-6AD2-45F6-9289-CBAB9606D423}" dt="2022-03-25T06:09:52.660" v="489" actId="2711"/>
          <ac:spMkLst>
            <pc:docMk/>
            <pc:sldMk cId="4096158020" sldId="262"/>
            <ac:spMk id="162" creationId="{AF80739E-8072-4A55-A2A9-57EEF0BC3163}"/>
          </ac:spMkLst>
        </pc:spChg>
        <pc:spChg chg="mod">
          <ac:chgData name="Sathiyamurthy, Surya" userId="c54ee02c-8e9a-4b7d-aab4-004599faea71" providerId="ADAL" clId="{256701E8-6AD2-45F6-9289-CBAB9606D423}" dt="2022-03-25T06:09:52.660" v="489" actId="2711"/>
          <ac:spMkLst>
            <pc:docMk/>
            <pc:sldMk cId="4096158020" sldId="262"/>
            <ac:spMk id="168" creationId="{B2A85D74-0730-4016-85CE-3AD18E8FB15C}"/>
          </ac:spMkLst>
        </pc:spChg>
        <pc:spChg chg="mod">
          <ac:chgData name="Sathiyamurthy, Surya" userId="c54ee02c-8e9a-4b7d-aab4-004599faea71" providerId="ADAL" clId="{256701E8-6AD2-45F6-9289-CBAB9606D423}" dt="2022-03-25T06:09:52.660" v="489" actId="2711"/>
          <ac:spMkLst>
            <pc:docMk/>
            <pc:sldMk cId="4096158020" sldId="262"/>
            <ac:spMk id="169" creationId="{6107CA75-7F32-4745-91C7-74DD08BDB444}"/>
          </ac:spMkLst>
        </pc:spChg>
        <pc:spChg chg="mod">
          <ac:chgData name="Sathiyamurthy, Surya" userId="c54ee02c-8e9a-4b7d-aab4-004599faea71" providerId="ADAL" clId="{256701E8-6AD2-45F6-9289-CBAB9606D423}" dt="2022-03-25T06:09:52.660" v="489" actId="2711"/>
          <ac:spMkLst>
            <pc:docMk/>
            <pc:sldMk cId="4096158020" sldId="262"/>
            <ac:spMk id="178" creationId="{1FE33AF7-A607-4ABD-B0AF-1282E5EDAED5}"/>
          </ac:spMkLst>
        </pc:spChg>
        <pc:spChg chg="mod">
          <ac:chgData name="Sathiyamurthy, Surya" userId="c54ee02c-8e9a-4b7d-aab4-004599faea71" providerId="ADAL" clId="{256701E8-6AD2-45F6-9289-CBAB9606D423}" dt="2022-03-25T06:14:52.468" v="798" actId="1038"/>
          <ac:spMkLst>
            <pc:docMk/>
            <pc:sldMk cId="4096158020" sldId="262"/>
            <ac:spMk id="179" creationId="{9E4BFC88-15DE-4CD0-9F9E-FB855122DBD2}"/>
          </ac:spMkLst>
        </pc:spChg>
        <pc:spChg chg="mod">
          <ac:chgData name="Sathiyamurthy, Surya" userId="c54ee02c-8e9a-4b7d-aab4-004599faea71" providerId="ADAL" clId="{256701E8-6AD2-45F6-9289-CBAB9606D423}" dt="2022-03-25T06:09:52.660" v="489" actId="2711"/>
          <ac:spMkLst>
            <pc:docMk/>
            <pc:sldMk cId="4096158020" sldId="262"/>
            <ac:spMk id="180" creationId="{8B9D1A5C-FC40-495B-9416-A9995DA5DD0D}"/>
          </ac:spMkLst>
        </pc:spChg>
        <pc:spChg chg="mod">
          <ac:chgData name="Sathiyamurthy, Surya" userId="c54ee02c-8e9a-4b7d-aab4-004599faea71" providerId="ADAL" clId="{256701E8-6AD2-45F6-9289-CBAB9606D423}" dt="2022-03-25T06:09:52.660" v="489" actId="2711"/>
          <ac:spMkLst>
            <pc:docMk/>
            <pc:sldMk cId="4096158020" sldId="262"/>
            <ac:spMk id="181" creationId="{136292A9-44F1-4B8E-B33B-EE1C08E9529D}"/>
          </ac:spMkLst>
        </pc:spChg>
        <pc:spChg chg="mod">
          <ac:chgData name="Sathiyamurthy, Surya" userId="c54ee02c-8e9a-4b7d-aab4-004599faea71" providerId="ADAL" clId="{256701E8-6AD2-45F6-9289-CBAB9606D423}" dt="2022-03-25T06:09:52.660" v="489" actId="2711"/>
          <ac:spMkLst>
            <pc:docMk/>
            <pc:sldMk cId="4096158020" sldId="262"/>
            <ac:spMk id="182" creationId="{8601C7A0-8C09-4D05-921A-E1A1238D7BDA}"/>
          </ac:spMkLst>
        </pc:spChg>
        <pc:spChg chg="mod">
          <ac:chgData name="Sathiyamurthy, Surya" userId="c54ee02c-8e9a-4b7d-aab4-004599faea71" providerId="ADAL" clId="{256701E8-6AD2-45F6-9289-CBAB9606D423}" dt="2022-03-25T06:09:52.660" v="489" actId="2711"/>
          <ac:spMkLst>
            <pc:docMk/>
            <pc:sldMk cId="4096158020" sldId="262"/>
            <ac:spMk id="183" creationId="{851D1573-C80C-4DD6-8861-CB44675237C8}"/>
          </ac:spMkLst>
        </pc:spChg>
        <pc:spChg chg="mod">
          <ac:chgData name="Sathiyamurthy, Surya" userId="c54ee02c-8e9a-4b7d-aab4-004599faea71" providerId="ADAL" clId="{256701E8-6AD2-45F6-9289-CBAB9606D423}" dt="2022-03-25T06:09:52.660" v="489" actId="2711"/>
          <ac:spMkLst>
            <pc:docMk/>
            <pc:sldMk cId="4096158020" sldId="262"/>
            <ac:spMk id="185" creationId="{F65A6F73-1A28-451F-A37D-4F5C010DA60E}"/>
          </ac:spMkLst>
        </pc:spChg>
        <pc:spChg chg="mod">
          <ac:chgData name="Sathiyamurthy, Surya" userId="c54ee02c-8e9a-4b7d-aab4-004599faea71" providerId="ADAL" clId="{256701E8-6AD2-45F6-9289-CBAB9606D423}" dt="2022-03-25T06:25:43.438" v="1277" actId="1035"/>
          <ac:spMkLst>
            <pc:docMk/>
            <pc:sldMk cId="4096158020" sldId="262"/>
            <ac:spMk id="187" creationId="{BC175E01-2415-43E2-9F10-618D990324C0}"/>
          </ac:spMkLst>
        </pc:spChg>
        <pc:spChg chg="mod">
          <ac:chgData name="Sathiyamurthy, Surya" userId="c54ee02c-8e9a-4b7d-aab4-004599faea71" providerId="ADAL" clId="{256701E8-6AD2-45F6-9289-CBAB9606D423}" dt="2022-03-25T06:09:00.517" v="482"/>
          <ac:spMkLst>
            <pc:docMk/>
            <pc:sldMk cId="4096158020" sldId="262"/>
            <ac:spMk id="188" creationId="{25D1A7EE-C3F0-4E2E-8995-9C9413F4E8E2}"/>
          </ac:spMkLst>
        </pc:spChg>
        <pc:spChg chg="add del mod">
          <ac:chgData name="Sathiyamurthy, Surya" userId="c54ee02c-8e9a-4b7d-aab4-004599faea71" providerId="ADAL" clId="{256701E8-6AD2-45F6-9289-CBAB9606D423}" dt="2022-03-25T06:33:26.438" v="1571" actId="478"/>
          <ac:spMkLst>
            <pc:docMk/>
            <pc:sldMk cId="4096158020" sldId="262"/>
            <ac:spMk id="189" creationId="{D11F92B2-6AC4-4709-BAA1-7FDB858CD181}"/>
          </ac:spMkLst>
        </pc:spChg>
        <pc:spChg chg="mod">
          <ac:chgData name="Sathiyamurthy, Surya" userId="c54ee02c-8e9a-4b7d-aab4-004599faea71" providerId="ADAL" clId="{256701E8-6AD2-45F6-9289-CBAB9606D423}" dt="2022-03-25T06:09:00.517" v="482"/>
          <ac:spMkLst>
            <pc:docMk/>
            <pc:sldMk cId="4096158020" sldId="262"/>
            <ac:spMk id="195" creationId="{AB32DB88-FEEE-43C0-BF59-8ACE572B0EC2}"/>
          </ac:spMkLst>
        </pc:spChg>
        <pc:spChg chg="mod">
          <ac:chgData name="Sathiyamurthy, Surya" userId="c54ee02c-8e9a-4b7d-aab4-004599faea71" providerId="ADAL" clId="{256701E8-6AD2-45F6-9289-CBAB9606D423}" dt="2022-03-25T06:09:00.517" v="482"/>
          <ac:spMkLst>
            <pc:docMk/>
            <pc:sldMk cId="4096158020" sldId="262"/>
            <ac:spMk id="198" creationId="{123CBC10-6BC5-48C4-9AC0-6A9AC84BB3B6}"/>
          </ac:spMkLst>
        </pc:spChg>
        <pc:spChg chg="mod">
          <ac:chgData name="Sathiyamurthy, Surya" userId="c54ee02c-8e9a-4b7d-aab4-004599faea71" providerId="ADAL" clId="{256701E8-6AD2-45F6-9289-CBAB9606D423}" dt="2022-03-26T19:31:36.703" v="1956" actId="14100"/>
          <ac:spMkLst>
            <pc:docMk/>
            <pc:sldMk cId="4096158020" sldId="262"/>
            <ac:spMk id="200" creationId="{C793B44A-622D-49EC-9DEF-69F14CD6D6B6}"/>
          </ac:spMkLst>
        </pc:spChg>
        <pc:spChg chg="mod">
          <ac:chgData name="Sathiyamurthy, Surya" userId="c54ee02c-8e9a-4b7d-aab4-004599faea71" providerId="ADAL" clId="{256701E8-6AD2-45F6-9289-CBAB9606D423}" dt="2022-03-26T19:31:26.188" v="1955" actId="403"/>
          <ac:spMkLst>
            <pc:docMk/>
            <pc:sldMk cId="4096158020" sldId="262"/>
            <ac:spMk id="205" creationId="{E68A2583-13F8-4130-A3B9-AB050C8A1DEE}"/>
          </ac:spMkLst>
        </pc:spChg>
        <pc:spChg chg="mod">
          <ac:chgData name="Sathiyamurthy, Surya" userId="c54ee02c-8e9a-4b7d-aab4-004599faea71" providerId="ADAL" clId="{256701E8-6AD2-45F6-9289-CBAB9606D423}" dt="2022-03-26T19:31:26.188" v="1955" actId="403"/>
          <ac:spMkLst>
            <pc:docMk/>
            <pc:sldMk cId="4096158020" sldId="262"/>
            <ac:spMk id="207" creationId="{04E54B59-7F5E-465B-8967-69A8D77FC36D}"/>
          </ac:spMkLst>
        </pc:spChg>
        <pc:spChg chg="mod">
          <ac:chgData name="Sathiyamurthy, Surya" userId="c54ee02c-8e9a-4b7d-aab4-004599faea71" providerId="ADAL" clId="{256701E8-6AD2-45F6-9289-CBAB9606D423}" dt="2022-03-26T19:31:26.188" v="1955" actId="403"/>
          <ac:spMkLst>
            <pc:docMk/>
            <pc:sldMk cId="4096158020" sldId="262"/>
            <ac:spMk id="209" creationId="{8E4AD9EE-DFBE-45BF-92BB-99B1FEC70C1C}"/>
          </ac:spMkLst>
        </pc:spChg>
        <pc:spChg chg="mod">
          <ac:chgData name="Sathiyamurthy, Surya" userId="c54ee02c-8e9a-4b7d-aab4-004599faea71" providerId="ADAL" clId="{256701E8-6AD2-45F6-9289-CBAB9606D423}" dt="2022-03-26T19:31:42.444" v="1957" actId="14100"/>
          <ac:spMkLst>
            <pc:docMk/>
            <pc:sldMk cId="4096158020" sldId="262"/>
            <ac:spMk id="211" creationId="{5FD36092-8668-4591-8AC1-CD5144377C4F}"/>
          </ac:spMkLst>
        </pc:spChg>
        <pc:spChg chg="mod">
          <ac:chgData name="Sathiyamurthy, Surya" userId="c54ee02c-8e9a-4b7d-aab4-004599faea71" providerId="ADAL" clId="{256701E8-6AD2-45F6-9289-CBAB9606D423}" dt="2022-03-25T06:10:04.678" v="490" actId="255"/>
          <ac:spMkLst>
            <pc:docMk/>
            <pc:sldMk cId="4096158020" sldId="262"/>
            <ac:spMk id="214" creationId="{321773D5-CA08-431C-A809-E1965F3ADE2D}"/>
          </ac:spMkLst>
        </pc:spChg>
        <pc:spChg chg="mod">
          <ac:chgData name="Sathiyamurthy, Surya" userId="c54ee02c-8e9a-4b7d-aab4-004599faea71" providerId="ADAL" clId="{256701E8-6AD2-45F6-9289-CBAB9606D423}" dt="2022-03-25T06:10:04.678" v="490" actId="255"/>
          <ac:spMkLst>
            <pc:docMk/>
            <pc:sldMk cId="4096158020" sldId="262"/>
            <ac:spMk id="215" creationId="{00F67109-1ED5-4205-89C5-E99AD98E6DB5}"/>
          </ac:spMkLst>
        </pc:spChg>
        <pc:spChg chg="mod">
          <ac:chgData name="Sathiyamurthy, Surya" userId="c54ee02c-8e9a-4b7d-aab4-004599faea71" providerId="ADAL" clId="{256701E8-6AD2-45F6-9289-CBAB9606D423}" dt="2022-03-25T06:10:04.678" v="490" actId="255"/>
          <ac:spMkLst>
            <pc:docMk/>
            <pc:sldMk cId="4096158020" sldId="262"/>
            <ac:spMk id="216" creationId="{A28529A5-C770-40DC-8B36-2E9FE9E956B4}"/>
          </ac:spMkLst>
        </pc:spChg>
        <pc:spChg chg="add mod">
          <ac:chgData name="Sathiyamurthy, Surya" userId="c54ee02c-8e9a-4b7d-aab4-004599faea71" providerId="ADAL" clId="{256701E8-6AD2-45F6-9289-CBAB9606D423}" dt="2022-03-25T06:17:24.572" v="922" actId="1035"/>
          <ac:spMkLst>
            <pc:docMk/>
            <pc:sldMk cId="4096158020" sldId="262"/>
            <ac:spMk id="218" creationId="{243FED60-7DC7-4DE5-AC3F-3A5C22B58D80}"/>
          </ac:spMkLst>
        </pc:spChg>
        <pc:spChg chg="add mod">
          <ac:chgData name="Sathiyamurthy, Surya" userId="c54ee02c-8e9a-4b7d-aab4-004599faea71" providerId="ADAL" clId="{256701E8-6AD2-45F6-9289-CBAB9606D423}" dt="2022-03-25T06:17:24.572" v="922" actId="1035"/>
          <ac:spMkLst>
            <pc:docMk/>
            <pc:sldMk cId="4096158020" sldId="262"/>
            <ac:spMk id="219" creationId="{9F0118C2-7FEB-431D-AA0F-6A542D22D6DC}"/>
          </ac:spMkLst>
        </pc:spChg>
        <pc:spChg chg="add mod">
          <ac:chgData name="Sathiyamurthy, Surya" userId="c54ee02c-8e9a-4b7d-aab4-004599faea71" providerId="ADAL" clId="{256701E8-6AD2-45F6-9289-CBAB9606D423}" dt="2022-03-25T06:41:48.131" v="1930" actId="20577"/>
          <ac:spMkLst>
            <pc:docMk/>
            <pc:sldMk cId="4096158020" sldId="262"/>
            <ac:spMk id="220" creationId="{1309314C-CB16-46BA-AD5B-6A8F1AE5BDEB}"/>
          </ac:spMkLst>
        </pc:spChg>
        <pc:spChg chg="add mod">
          <ac:chgData name="Sathiyamurthy, Surya" userId="c54ee02c-8e9a-4b7d-aab4-004599faea71" providerId="ADAL" clId="{256701E8-6AD2-45F6-9289-CBAB9606D423}" dt="2022-03-26T19:32:31.544" v="1972" actId="403"/>
          <ac:spMkLst>
            <pc:docMk/>
            <pc:sldMk cId="4096158020" sldId="262"/>
            <ac:spMk id="221" creationId="{3DEEF0D0-F72A-4A4E-80E7-4C4B451D8331}"/>
          </ac:spMkLst>
        </pc:spChg>
        <pc:spChg chg="add mod">
          <ac:chgData name="Sathiyamurthy, Surya" userId="c54ee02c-8e9a-4b7d-aab4-004599faea71" providerId="ADAL" clId="{256701E8-6AD2-45F6-9289-CBAB9606D423}" dt="2022-03-26T19:32:24.708" v="1971" actId="1036"/>
          <ac:spMkLst>
            <pc:docMk/>
            <pc:sldMk cId="4096158020" sldId="262"/>
            <ac:spMk id="222" creationId="{6731251D-B217-4C2B-97C8-56D78C14E0A6}"/>
          </ac:spMkLst>
        </pc:spChg>
        <pc:spChg chg="add mod">
          <ac:chgData name="Sathiyamurthy, Surya" userId="c54ee02c-8e9a-4b7d-aab4-004599faea71" providerId="ADAL" clId="{256701E8-6AD2-45F6-9289-CBAB9606D423}" dt="2022-03-26T19:32:37.329" v="1973" actId="14100"/>
          <ac:spMkLst>
            <pc:docMk/>
            <pc:sldMk cId="4096158020" sldId="262"/>
            <ac:spMk id="223" creationId="{4B1FB252-0859-40B6-AD1D-2CE37F4C1C56}"/>
          </ac:spMkLst>
        </pc:spChg>
        <pc:spChg chg="add mod">
          <ac:chgData name="Sathiyamurthy, Surya" userId="c54ee02c-8e9a-4b7d-aab4-004599faea71" providerId="ADAL" clId="{256701E8-6AD2-45F6-9289-CBAB9606D423}" dt="2022-03-26T19:32:19.665" v="1959" actId="403"/>
          <ac:spMkLst>
            <pc:docMk/>
            <pc:sldMk cId="4096158020" sldId="262"/>
            <ac:spMk id="224" creationId="{2D2ED41D-684F-4F02-975D-3838473FAED1}"/>
          </ac:spMkLst>
        </pc:spChg>
        <pc:spChg chg="add mod">
          <ac:chgData name="Sathiyamurthy, Surya" userId="c54ee02c-8e9a-4b7d-aab4-004599faea71" providerId="ADAL" clId="{256701E8-6AD2-45F6-9289-CBAB9606D423}" dt="2022-03-26T19:38:19.961" v="2079" actId="14100"/>
          <ac:spMkLst>
            <pc:docMk/>
            <pc:sldMk cId="4096158020" sldId="262"/>
            <ac:spMk id="225" creationId="{100BC8D6-6911-4007-8C7A-311B1FA6FD36}"/>
          </ac:spMkLst>
        </pc:spChg>
        <pc:spChg chg="add mod">
          <ac:chgData name="Sathiyamurthy, Surya" userId="c54ee02c-8e9a-4b7d-aab4-004599faea71" providerId="ADAL" clId="{256701E8-6AD2-45F6-9289-CBAB9606D423}" dt="2022-03-26T19:38:19.961" v="2079" actId="14100"/>
          <ac:spMkLst>
            <pc:docMk/>
            <pc:sldMk cId="4096158020" sldId="262"/>
            <ac:spMk id="226" creationId="{56C3C49E-30FE-45E8-8117-D47C73223DE2}"/>
          </ac:spMkLst>
        </pc:spChg>
        <pc:spChg chg="add mod">
          <ac:chgData name="Sathiyamurthy, Surya" userId="c54ee02c-8e9a-4b7d-aab4-004599faea71" providerId="ADAL" clId="{256701E8-6AD2-45F6-9289-CBAB9606D423}" dt="2022-03-26T19:38:19.961" v="2079" actId="14100"/>
          <ac:spMkLst>
            <pc:docMk/>
            <pc:sldMk cId="4096158020" sldId="262"/>
            <ac:spMk id="227" creationId="{38E11162-BBD6-41AB-B4AA-BA5F51CF3D43}"/>
          </ac:spMkLst>
        </pc:spChg>
        <pc:spChg chg="add mod">
          <ac:chgData name="Sathiyamurthy, Surya" userId="c54ee02c-8e9a-4b7d-aab4-004599faea71" providerId="ADAL" clId="{256701E8-6AD2-45F6-9289-CBAB9606D423}" dt="2022-03-26T19:33:05.558" v="1974" actId="403"/>
          <ac:spMkLst>
            <pc:docMk/>
            <pc:sldMk cId="4096158020" sldId="262"/>
            <ac:spMk id="228" creationId="{F9110184-FB84-44C5-848E-D9694AF20B84}"/>
          </ac:spMkLst>
        </pc:spChg>
        <pc:spChg chg="add mod">
          <ac:chgData name="Sathiyamurthy, Surya" userId="c54ee02c-8e9a-4b7d-aab4-004599faea71" providerId="ADAL" clId="{256701E8-6AD2-45F6-9289-CBAB9606D423}" dt="2022-03-26T19:33:05.558" v="1974" actId="403"/>
          <ac:spMkLst>
            <pc:docMk/>
            <pc:sldMk cId="4096158020" sldId="262"/>
            <ac:spMk id="229" creationId="{B61968C3-196E-4962-A872-4BC4BA09CC64}"/>
          </ac:spMkLst>
        </pc:spChg>
        <pc:spChg chg="add mod">
          <ac:chgData name="Sathiyamurthy, Surya" userId="c54ee02c-8e9a-4b7d-aab4-004599faea71" providerId="ADAL" clId="{256701E8-6AD2-45F6-9289-CBAB9606D423}" dt="2022-03-26T19:33:05.558" v="1974" actId="403"/>
          <ac:spMkLst>
            <pc:docMk/>
            <pc:sldMk cId="4096158020" sldId="262"/>
            <ac:spMk id="230" creationId="{B204BA11-2410-44AD-ACA0-C2A4FF4228A7}"/>
          </ac:spMkLst>
        </pc:spChg>
        <pc:spChg chg="add mod">
          <ac:chgData name="Sathiyamurthy, Surya" userId="c54ee02c-8e9a-4b7d-aab4-004599faea71" providerId="ADAL" clId="{256701E8-6AD2-45F6-9289-CBAB9606D423}" dt="2022-03-26T19:33:05.558" v="1974" actId="403"/>
          <ac:spMkLst>
            <pc:docMk/>
            <pc:sldMk cId="4096158020" sldId="262"/>
            <ac:spMk id="231" creationId="{B30389C8-6E94-48B9-BAA6-337171E17B64}"/>
          </ac:spMkLst>
        </pc:spChg>
        <pc:spChg chg="add mod">
          <ac:chgData name="Sathiyamurthy, Surya" userId="c54ee02c-8e9a-4b7d-aab4-004599faea71" providerId="ADAL" clId="{256701E8-6AD2-45F6-9289-CBAB9606D423}" dt="2022-03-25T06:25:43.438" v="1277" actId="1035"/>
          <ac:spMkLst>
            <pc:docMk/>
            <pc:sldMk cId="4096158020" sldId="262"/>
            <ac:spMk id="232" creationId="{8A584565-1286-44E5-9DC7-A14CB313C523}"/>
          </ac:spMkLst>
        </pc:spChg>
        <pc:spChg chg="add mod">
          <ac:chgData name="Sathiyamurthy, Surya" userId="c54ee02c-8e9a-4b7d-aab4-004599faea71" providerId="ADAL" clId="{256701E8-6AD2-45F6-9289-CBAB9606D423}" dt="2022-03-25T06:25:43.438" v="1277" actId="1035"/>
          <ac:spMkLst>
            <pc:docMk/>
            <pc:sldMk cId="4096158020" sldId="262"/>
            <ac:spMk id="233" creationId="{B0C61E62-742E-4F49-AB86-ABD12C8872F8}"/>
          </ac:spMkLst>
        </pc:spChg>
        <pc:spChg chg="add mod">
          <ac:chgData name="Sathiyamurthy, Surya" userId="c54ee02c-8e9a-4b7d-aab4-004599faea71" providerId="ADAL" clId="{256701E8-6AD2-45F6-9289-CBAB9606D423}" dt="2022-03-26T19:36:56.203" v="2061" actId="207"/>
          <ac:spMkLst>
            <pc:docMk/>
            <pc:sldMk cId="4096158020" sldId="262"/>
            <ac:spMk id="234" creationId="{84DB6830-6623-42B4-9158-394B5966AEAD}"/>
          </ac:spMkLst>
        </pc:spChg>
        <pc:spChg chg="add mod">
          <ac:chgData name="Sathiyamurthy, Surya" userId="c54ee02c-8e9a-4b7d-aab4-004599faea71" providerId="ADAL" clId="{256701E8-6AD2-45F6-9289-CBAB9606D423}" dt="2022-03-26T19:36:56.203" v="2061" actId="207"/>
          <ac:spMkLst>
            <pc:docMk/>
            <pc:sldMk cId="4096158020" sldId="262"/>
            <ac:spMk id="235" creationId="{1FCD609A-ECA2-4BA9-AD34-3150ABEF1EA9}"/>
          </ac:spMkLst>
        </pc:spChg>
        <pc:spChg chg="add mod">
          <ac:chgData name="Sathiyamurthy, Surya" userId="c54ee02c-8e9a-4b7d-aab4-004599faea71" providerId="ADAL" clId="{256701E8-6AD2-45F6-9289-CBAB9606D423}" dt="2022-03-26T19:36:58.570" v="2062" actId="207"/>
          <ac:spMkLst>
            <pc:docMk/>
            <pc:sldMk cId="4096158020" sldId="262"/>
            <ac:spMk id="236" creationId="{80C7BC81-1680-4F33-98DA-35CD2CE71802}"/>
          </ac:spMkLst>
        </pc:spChg>
        <pc:spChg chg="add mod">
          <ac:chgData name="Sathiyamurthy, Surya" userId="c54ee02c-8e9a-4b7d-aab4-004599faea71" providerId="ADAL" clId="{256701E8-6AD2-45F6-9289-CBAB9606D423}" dt="2022-03-26T19:36:46.363" v="2060" actId="403"/>
          <ac:spMkLst>
            <pc:docMk/>
            <pc:sldMk cId="4096158020" sldId="262"/>
            <ac:spMk id="239" creationId="{62B53685-E6C6-4136-BA97-435EF5F12C39}"/>
          </ac:spMkLst>
        </pc:spChg>
        <pc:spChg chg="add mod">
          <ac:chgData name="Sathiyamurthy, Surya" userId="c54ee02c-8e9a-4b7d-aab4-004599faea71" providerId="ADAL" clId="{256701E8-6AD2-45F6-9289-CBAB9606D423}" dt="2022-03-26T19:36:46.363" v="2060" actId="403"/>
          <ac:spMkLst>
            <pc:docMk/>
            <pc:sldMk cId="4096158020" sldId="262"/>
            <ac:spMk id="240" creationId="{3C33D1CF-1694-4968-945A-ED48AD89C138}"/>
          </ac:spMkLst>
        </pc:spChg>
        <pc:spChg chg="add mod">
          <ac:chgData name="Sathiyamurthy, Surya" userId="c54ee02c-8e9a-4b7d-aab4-004599faea71" providerId="ADAL" clId="{256701E8-6AD2-45F6-9289-CBAB9606D423}" dt="2022-03-25T06:41:44.194" v="1921" actId="20577"/>
          <ac:spMkLst>
            <pc:docMk/>
            <pc:sldMk cId="4096158020" sldId="262"/>
            <ac:spMk id="243" creationId="{1B63A59F-560F-481F-B41D-BD5307741236}"/>
          </ac:spMkLst>
        </pc:spChg>
        <pc:spChg chg="add mod">
          <ac:chgData name="Sathiyamurthy, Surya" userId="c54ee02c-8e9a-4b7d-aab4-004599faea71" providerId="ADAL" clId="{256701E8-6AD2-45F6-9289-CBAB9606D423}" dt="2022-03-25T06:31:23.435" v="1495" actId="1076"/>
          <ac:spMkLst>
            <pc:docMk/>
            <pc:sldMk cId="4096158020" sldId="262"/>
            <ac:spMk id="247" creationId="{5C78ADB3-B204-4D3B-9370-D00CD4DF3CBD}"/>
          </ac:spMkLst>
        </pc:spChg>
        <pc:spChg chg="add mod">
          <ac:chgData name="Sathiyamurthy, Surya" userId="c54ee02c-8e9a-4b7d-aab4-004599faea71" providerId="ADAL" clId="{256701E8-6AD2-45F6-9289-CBAB9606D423}" dt="2022-03-26T19:44:11.916" v="2174" actId="208"/>
          <ac:spMkLst>
            <pc:docMk/>
            <pc:sldMk cId="4096158020" sldId="262"/>
            <ac:spMk id="248" creationId="{F3AB765E-40F8-4936-9C08-1ABF7C61617E}"/>
          </ac:spMkLst>
        </pc:spChg>
        <pc:spChg chg="add mod">
          <ac:chgData name="Sathiyamurthy, Surya" userId="c54ee02c-8e9a-4b7d-aab4-004599faea71" providerId="ADAL" clId="{256701E8-6AD2-45F6-9289-CBAB9606D423}" dt="2022-03-26T19:44:11.916" v="2174" actId="208"/>
          <ac:spMkLst>
            <pc:docMk/>
            <pc:sldMk cId="4096158020" sldId="262"/>
            <ac:spMk id="249" creationId="{4B4B1218-E698-43DB-8E2F-0396C3AD9155}"/>
          </ac:spMkLst>
        </pc:spChg>
        <pc:spChg chg="add mod">
          <ac:chgData name="Sathiyamurthy, Surya" userId="c54ee02c-8e9a-4b7d-aab4-004599faea71" providerId="ADAL" clId="{256701E8-6AD2-45F6-9289-CBAB9606D423}" dt="2022-03-26T19:44:11.916" v="2174" actId="208"/>
          <ac:spMkLst>
            <pc:docMk/>
            <pc:sldMk cId="4096158020" sldId="262"/>
            <ac:spMk id="250" creationId="{B0BA3E24-4063-4E36-A56B-4438FF3A87A6}"/>
          </ac:spMkLst>
        </pc:spChg>
        <pc:spChg chg="add mod">
          <ac:chgData name="Sathiyamurthy, Surya" userId="c54ee02c-8e9a-4b7d-aab4-004599faea71" providerId="ADAL" clId="{256701E8-6AD2-45F6-9289-CBAB9606D423}" dt="2022-03-26T19:44:11.916" v="2174" actId="208"/>
          <ac:spMkLst>
            <pc:docMk/>
            <pc:sldMk cId="4096158020" sldId="262"/>
            <ac:spMk id="251" creationId="{2C49D850-A3F1-46D1-B527-AD5319CE8E59}"/>
          </ac:spMkLst>
        </pc:spChg>
        <pc:spChg chg="mod">
          <ac:chgData name="Sathiyamurthy, Surya" userId="c54ee02c-8e9a-4b7d-aab4-004599faea71" providerId="ADAL" clId="{256701E8-6AD2-45F6-9289-CBAB9606D423}" dt="2022-03-26T19:44:28.450" v="2179" actId="164"/>
          <ac:spMkLst>
            <pc:docMk/>
            <pc:sldMk cId="4096158020" sldId="262"/>
            <ac:spMk id="253" creationId="{BD32B9D7-7D30-4C33-8630-73B4994365FA}"/>
          </ac:spMkLst>
        </pc:spChg>
        <pc:spChg chg="mod">
          <ac:chgData name="Sathiyamurthy, Surya" userId="c54ee02c-8e9a-4b7d-aab4-004599faea71" providerId="ADAL" clId="{256701E8-6AD2-45F6-9289-CBAB9606D423}" dt="2022-03-26T19:44:28.450" v="2179" actId="164"/>
          <ac:spMkLst>
            <pc:docMk/>
            <pc:sldMk cId="4096158020" sldId="262"/>
            <ac:spMk id="254" creationId="{F9160850-672E-44FF-B03F-4E81354EFF61}"/>
          </ac:spMkLst>
        </pc:spChg>
        <pc:spChg chg="mod">
          <ac:chgData name="Sathiyamurthy, Surya" userId="c54ee02c-8e9a-4b7d-aab4-004599faea71" providerId="ADAL" clId="{256701E8-6AD2-45F6-9289-CBAB9606D423}" dt="2022-03-26T19:44:28.450" v="2179" actId="164"/>
          <ac:spMkLst>
            <pc:docMk/>
            <pc:sldMk cId="4096158020" sldId="262"/>
            <ac:spMk id="255" creationId="{6E66EC74-E38A-4587-824E-0AE1E9BC6BC5}"/>
          </ac:spMkLst>
        </pc:spChg>
        <pc:spChg chg="mod">
          <ac:chgData name="Sathiyamurthy, Surya" userId="c54ee02c-8e9a-4b7d-aab4-004599faea71" providerId="ADAL" clId="{256701E8-6AD2-45F6-9289-CBAB9606D423}" dt="2022-03-26T19:44:28.450" v="2179" actId="164"/>
          <ac:spMkLst>
            <pc:docMk/>
            <pc:sldMk cId="4096158020" sldId="262"/>
            <ac:spMk id="256" creationId="{EA124FD2-3B3E-445C-BC45-1E38F1D71C5E}"/>
          </ac:spMkLst>
        </pc:spChg>
        <pc:spChg chg="mod">
          <ac:chgData name="Sathiyamurthy, Surya" userId="c54ee02c-8e9a-4b7d-aab4-004599faea71" providerId="ADAL" clId="{256701E8-6AD2-45F6-9289-CBAB9606D423}" dt="2022-03-26T19:44:28.450" v="2179" actId="164"/>
          <ac:spMkLst>
            <pc:docMk/>
            <pc:sldMk cId="4096158020" sldId="262"/>
            <ac:spMk id="257" creationId="{1059C366-C332-4DEB-BE4C-965F2685FC91}"/>
          </ac:spMkLst>
        </pc:spChg>
        <pc:spChg chg="mod">
          <ac:chgData name="Sathiyamurthy, Surya" userId="c54ee02c-8e9a-4b7d-aab4-004599faea71" providerId="ADAL" clId="{256701E8-6AD2-45F6-9289-CBAB9606D423}" dt="2022-03-26T19:44:28.450" v="2179" actId="164"/>
          <ac:spMkLst>
            <pc:docMk/>
            <pc:sldMk cId="4096158020" sldId="262"/>
            <ac:spMk id="259" creationId="{8B12EC2C-45D7-41A7-8437-79E6B417E023}"/>
          </ac:spMkLst>
        </pc:spChg>
        <pc:spChg chg="mod">
          <ac:chgData name="Sathiyamurthy, Surya" userId="c54ee02c-8e9a-4b7d-aab4-004599faea71" providerId="ADAL" clId="{256701E8-6AD2-45F6-9289-CBAB9606D423}" dt="2022-03-26T19:44:28.450" v="2179" actId="164"/>
          <ac:spMkLst>
            <pc:docMk/>
            <pc:sldMk cId="4096158020" sldId="262"/>
            <ac:spMk id="260" creationId="{B300617F-ED4C-44A9-A904-13E947C8CD40}"/>
          </ac:spMkLst>
        </pc:spChg>
        <pc:spChg chg="mod">
          <ac:chgData name="Sathiyamurthy, Surya" userId="c54ee02c-8e9a-4b7d-aab4-004599faea71" providerId="ADAL" clId="{256701E8-6AD2-45F6-9289-CBAB9606D423}" dt="2022-03-26T19:44:28.450" v="2179" actId="164"/>
          <ac:spMkLst>
            <pc:docMk/>
            <pc:sldMk cId="4096158020" sldId="262"/>
            <ac:spMk id="261" creationId="{55B477F7-E10E-4A46-8D5B-950E8B4B17D8}"/>
          </ac:spMkLst>
        </pc:spChg>
        <pc:spChg chg="mod">
          <ac:chgData name="Sathiyamurthy, Surya" userId="c54ee02c-8e9a-4b7d-aab4-004599faea71" providerId="ADAL" clId="{256701E8-6AD2-45F6-9289-CBAB9606D423}" dt="2022-03-26T19:44:28.450" v="2179" actId="164"/>
          <ac:spMkLst>
            <pc:docMk/>
            <pc:sldMk cId="4096158020" sldId="262"/>
            <ac:spMk id="263" creationId="{B12040B3-2803-4933-947A-CDD6AC61B32E}"/>
          </ac:spMkLst>
        </pc:spChg>
        <pc:spChg chg="mod">
          <ac:chgData name="Sathiyamurthy, Surya" userId="c54ee02c-8e9a-4b7d-aab4-004599faea71" providerId="ADAL" clId="{256701E8-6AD2-45F6-9289-CBAB9606D423}" dt="2022-03-26T19:44:28.450" v="2179" actId="164"/>
          <ac:spMkLst>
            <pc:docMk/>
            <pc:sldMk cId="4096158020" sldId="262"/>
            <ac:spMk id="264" creationId="{7AE158A6-5D54-4973-8A15-6EB3A357592D}"/>
          </ac:spMkLst>
        </pc:spChg>
        <pc:spChg chg="add mod">
          <ac:chgData name="Sathiyamurthy, Surya" userId="c54ee02c-8e9a-4b7d-aab4-004599faea71" providerId="ADAL" clId="{256701E8-6AD2-45F6-9289-CBAB9606D423}" dt="2022-03-26T19:35:39.937" v="2031" actId="1035"/>
          <ac:spMkLst>
            <pc:docMk/>
            <pc:sldMk cId="4096158020" sldId="262"/>
            <ac:spMk id="266" creationId="{8CDFA103-1D08-42B1-9D94-9DBB9B12CA56}"/>
          </ac:spMkLst>
        </pc:spChg>
        <pc:spChg chg="mod">
          <ac:chgData name="Sathiyamurthy, Surya" userId="c54ee02c-8e9a-4b7d-aab4-004599faea71" providerId="ADAL" clId="{256701E8-6AD2-45F6-9289-CBAB9606D423}" dt="2022-03-25T06:39:18.419" v="1768"/>
          <ac:spMkLst>
            <pc:docMk/>
            <pc:sldMk cId="4096158020" sldId="262"/>
            <ac:spMk id="268" creationId="{3D5E41FD-A0ED-4A44-9A04-64516B8697A6}"/>
          </ac:spMkLst>
        </pc:spChg>
        <pc:spChg chg="mod">
          <ac:chgData name="Sathiyamurthy, Surya" userId="c54ee02c-8e9a-4b7d-aab4-004599faea71" providerId="ADAL" clId="{256701E8-6AD2-45F6-9289-CBAB9606D423}" dt="2022-03-25T06:39:18.419" v="1768"/>
          <ac:spMkLst>
            <pc:docMk/>
            <pc:sldMk cId="4096158020" sldId="262"/>
            <ac:spMk id="269" creationId="{B4CE19AF-F5EE-4CC6-A0BE-00C43D94287C}"/>
          </ac:spMkLst>
        </pc:spChg>
        <pc:spChg chg="mod">
          <ac:chgData name="Sathiyamurthy, Surya" userId="c54ee02c-8e9a-4b7d-aab4-004599faea71" providerId="ADAL" clId="{256701E8-6AD2-45F6-9289-CBAB9606D423}" dt="2022-03-25T06:39:18.419" v="1768"/>
          <ac:spMkLst>
            <pc:docMk/>
            <pc:sldMk cId="4096158020" sldId="262"/>
            <ac:spMk id="270" creationId="{CC8A3C7A-84B1-410D-A1FE-23DA8DB33A23}"/>
          </ac:spMkLst>
        </pc:spChg>
        <pc:spChg chg="mod">
          <ac:chgData name="Sathiyamurthy, Surya" userId="c54ee02c-8e9a-4b7d-aab4-004599faea71" providerId="ADAL" clId="{256701E8-6AD2-45F6-9289-CBAB9606D423}" dt="2022-03-25T06:39:18.419" v="1768"/>
          <ac:spMkLst>
            <pc:docMk/>
            <pc:sldMk cId="4096158020" sldId="262"/>
            <ac:spMk id="272" creationId="{3F1AFAB8-7C4D-4DEC-87A6-8F73087DCE31}"/>
          </ac:spMkLst>
        </pc:spChg>
        <pc:spChg chg="mod">
          <ac:chgData name="Sathiyamurthy, Surya" userId="c54ee02c-8e9a-4b7d-aab4-004599faea71" providerId="ADAL" clId="{256701E8-6AD2-45F6-9289-CBAB9606D423}" dt="2022-03-25T06:39:18.419" v="1768"/>
          <ac:spMkLst>
            <pc:docMk/>
            <pc:sldMk cId="4096158020" sldId="262"/>
            <ac:spMk id="273" creationId="{160A9E4A-2C3A-4E06-8718-D87D79F84DEC}"/>
          </ac:spMkLst>
        </pc:spChg>
        <pc:spChg chg="add mod ord">
          <ac:chgData name="Sathiyamurthy, Surya" userId="c54ee02c-8e9a-4b7d-aab4-004599faea71" providerId="ADAL" clId="{256701E8-6AD2-45F6-9289-CBAB9606D423}" dt="2022-03-26T19:44:28.843" v="2180" actId="208"/>
          <ac:spMkLst>
            <pc:docMk/>
            <pc:sldMk cId="4096158020" sldId="262"/>
            <ac:spMk id="274" creationId="{3E9E7550-7F57-4309-A575-02CE0A39B97D}"/>
          </ac:spMkLst>
        </pc:spChg>
        <pc:spChg chg="add mod">
          <ac:chgData name="Sathiyamurthy, Surya" userId="c54ee02c-8e9a-4b7d-aab4-004599faea71" providerId="ADAL" clId="{256701E8-6AD2-45F6-9289-CBAB9606D423}" dt="2022-03-25T06:40:42.777" v="1859" actId="20577"/>
          <ac:spMkLst>
            <pc:docMk/>
            <pc:sldMk cId="4096158020" sldId="262"/>
            <ac:spMk id="275" creationId="{22A5F105-99F6-4EC6-977E-48F46261DF75}"/>
          </ac:spMkLst>
        </pc:spChg>
        <pc:spChg chg="add mod">
          <ac:chgData name="Sathiyamurthy, Surya" userId="c54ee02c-8e9a-4b7d-aab4-004599faea71" providerId="ADAL" clId="{256701E8-6AD2-45F6-9289-CBAB9606D423}" dt="2022-03-25T06:41:29.515" v="1911" actId="20577"/>
          <ac:spMkLst>
            <pc:docMk/>
            <pc:sldMk cId="4096158020" sldId="262"/>
            <ac:spMk id="276" creationId="{D8F4A5BA-6DC0-46A0-9E71-AC9518E61A52}"/>
          </ac:spMkLst>
        </pc:spChg>
        <pc:grpChg chg="add del">
          <ac:chgData name="Sathiyamurthy, Surya" userId="c54ee02c-8e9a-4b7d-aab4-004599faea71" providerId="ADAL" clId="{256701E8-6AD2-45F6-9289-CBAB9606D423}" dt="2022-03-25T06:08:49.721" v="481" actId="478"/>
          <ac:grpSpMkLst>
            <pc:docMk/>
            <pc:sldMk cId="4096158020" sldId="262"/>
            <ac:grpSpMk id="3" creationId="{25CC4E00-CCE3-4AF1-9863-9EFE3876C235}"/>
          </ac:grpSpMkLst>
        </pc:grpChg>
        <pc:grpChg chg="mod">
          <ac:chgData name="Sathiyamurthy, Surya" userId="c54ee02c-8e9a-4b7d-aab4-004599faea71" providerId="ADAL" clId="{256701E8-6AD2-45F6-9289-CBAB9606D423}" dt="2022-03-25T06:09:52.660" v="489" actId="2711"/>
          <ac:grpSpMkLst>
            <pc:docMk/>
            <pc:sldMk cId="4096158020" sldId="262"/>
            <ac:grpSpMk id="13" creationId="{FE935AEC-C7C1-4CE7-86F9-68E4D6ABF5AF}"/>
          </ac:grpSpMkLst>
        </pc:grpChg>
        <pc:grpChg chg="add mod">
          <ac:chgData name="Sathiyamurthy, Surya" userId="c54ee02c-8e9a-4b7d-aab4-004599faea71" providerId="ADAL" clId="{256701E8-6AD2-45F6-9289-CBAB9606D423}" dt="2022-03-25T06:36:01.247" v="1633" actId="164"/>
          <ac:grpSpMkLst>
            <pc:docMk/>
            <pc:sldMk cId="4096158020" sldId="262"/>
            <ac:grpSpMk id="15" creationId="{168F0CE8-94AD-4E14-A836-2F5526EFC333}"/>
          </ac:grpSpMkLst>
        </pc:grpChg>
        <pc:grpChg chg="add mod">
          <ac:chgData name="Sathiyamurthy, Surya" userId="c54ee02c-8e9a-4b7d-aab4-004599faea71" providerId="ADAL" clId="{256701E8-6AD2-45F6-9289-CBAB9606D423}" dt="2022-03-25T06:36:01.247" v="1633" actId="164"/>
          <ac:grpSpMkLst>
            <pc:docMk/>
            <pc:sldMk cId="4096158020" sldId="262"/>
            <ac:grpSpMk id="16" creationId="{26470B5B-8DF6-4E53-868C-1D5CAFF1ABA1}"/>
          </ac:grpSpMkLst>
        </pc:grpChg>
        <pc:grpChg chg="add mod">
          <ac:chgData name="Sathiyamurthy, Surya" userId="c54ee02c-8e9a-4b7d-aab4-004599faea71" providerId="ADAL" clId="{256701E8-6AD2-45F6-9289-CBAB9606D423}" dt="2022-03-26T19:35:34.247" v="2010" actId="164"/>
          <ac:grpSpMkLst>
            <pc:docMk/>
            <pc:sldMk cId="4096158020" sldId="262"/>
            <ac:grpSpMk id="17" creationId="{2955D046-DAA1-4811-94FE-1B751225B6CD}"/>
          </ac:grpSpMkLst>
        </pc:grpChg>
        <pc:grpChg chg="add mod">
          <ac:chgData name="Sathiyamurthy, Surya" userId="c54ee02c-8e9a-4b7d-aab4-004599faea71" providerId="ADAL" clId="{256701E8-6AD2-45F6-9289-CBAB9606D423}" dt="2022-03-26T19:35:36.567" v="2023" actId="1035"/>
          <ac:grpSpMkLst>
            <pc:docMk/>
            <pc:sldMk cId="4096158020" sldId="262"/>
            <ac:grpSpMk id="20" creationId="{F86FB28B-B46B-446B-A9DC-B9651747A84C}"/>
          </ac:grpSpMkLst>
        </pc:grpChg>
        <pc:grpChg chg="add mod">
          <ac:chgData name="Sathiyamurthy, Surya" userId="c54ee02c-8e9a-4b7d-aab4-004599faea71" providerId="ADAL" clId="{256701E8-6AD2-45F6-9289-CBAB9606D423}" dt="2022-03-26T19:44:28.450" v="2179" actId="164"/>
          <ac:grpSpMkLst>
            <pc:docMk/>
            <pc:sldMk cId="4096158020" sldId="262"/>
            <ac:grpSpMk id="21" creationId="{50106A76-F387-42DA-9F99-88CFC5BD9A08}"/>
          </ac:grpSpMkLst>
        </pc:grpChg>
        <pc:grpChg chg="del mod">
          <ac:chgData name="Sathiyamurthy, Surya" userId="c54ee02c-8e9a-4b7d-aab4-004599faea71" providerId="ADAL" clId="{256701E8-6AD2-45F6-9289-CBAB9606D423}" dt="2022-03-25T06:33:38.286" v="1572" actId="478"/>
          <ac:grpSpMkLst>
            <pc:docMk/>
            <pc:sldMk cId="4096158020" sldId="262"/>
            <ac:grpSpMk id="70" creationId="{848075E1-B34D-AD4C-9FF5-BD4112A74E1E}"/>
          </ac:grpSpMkLst>
        </pc:grpChg>
        <pc:grpChg chg="mod">
          <ac:chgData name="Sathiyamurthy, Surya" userId="c54ee02c-8e9a-4b7d-aab4-004599faea71" providerId="ADAL" clId="{256701E8-6AD2-45F6-9289-CBAB9606D423}" dt="2022-03-29T00:38:30.455" v="2354" actId="1038"/>
          <ac:grpSpMkLst>
            <pc:docMk/>
            <pc:sldMk cId="4096158020" sldId="262"/>
            <ac:grpSpMk id="103" creationId="{0DFB4E1B-698E-4357-B670-67F2CEAF15C2}"/>
          </ac:grpSpMkLst>
        </pc:grpChg>
        <pc:grpChg chg="add del mod">
          <ac:chgData name="Sathiyamurthy, Surya" userId="c54ee02c-8e9a-4b7d-aab4-004599faea71" providerId="ADAL" clId="{256701E8-6AD2-45F6-9289-CBAB9606D423}" dt="2022-03-25T06:09:03.583" v="483"/>
          <ac:grpSpMkLst>
            <pc:docMk/>
            <pc:sldMk cId="4096158020" sldId="262"/>
            <ac:grpSpMk id="140" creationId="{22C2A6FC-6280-439F-9004-4E2BED7B7097}"/>
          </ac:grpSpMkLst>
        </pc:grpChg>
        <pc:grpChg chg="mod">
          <ac:chgData name="Sathiyamurthy, Surya" userId="c54ee02c-8e9a-4b7d-aab4-004599faea71" providerId="ADAL" clId="{256701E8-6AD2-45F6-9289-CBAB9606D423}" dt="2022-03-25T06:09:52.660" v="489" actId="2711"/>
          <ac:grpSpMkLst>
            <pc:docMk/>
            <pc:sldMk cId="4096158020" sldId="262"/>
            <ac:grpSpMk id="171" creationId="{F371A091-A923-4C99-BD6E-589B77B8EC50}"/>
          </ac:grpSpMkLst>
        </pc:grpChg>
        <pc:grpChg chg="mod">
          <ac:chgData name="Sathiyamurthy, Surya" userId="c54ee02c-8e9a-4b7d-aab4-004599faea71" providerId="ADAL" clId="{256701E8-6AD2-45F6-9289-CBAB9606D423}" dt="2022-03-25T06:09:52.660" v="489" actId="2711"/>
          <ac:grpSpMkLst>
            <pc:docMk/>
            <pc:sldMk cId="4096158020" sldId="262"/>
            <ac:grpSpMk id="172" creationId="{62BBDF36-E084-448D-93EC-5CB1DEC1C26E}"/>
          </ac:grpSpMkLst>
        </pc:grpChg>
        <pc:grpChg chg="add del mod">
          <ac:chgData name="Sathiyamurthy, Surya" userId="c54ee02c-8e9a-4b7d-aab4-004599faea71" providerId="ADAL" clId="{256701E8-6AD2-45F6-9289-CBAB9606D423}" dt="2022-03-25T06:09:03.583" v="483"/>
          <ac:grpSpMkLst>
            <pc:docMk/>
            <pc:sldMk cId="4096158020" sldId="262"/>
            <ac:grpSpMk id="193" creationId="{C7488BF4-CD5A-4CDD-B8A3-40E82A337B36}"/>
          </ac:grpSpMkLst>
        </pc:grpChg>
        <pc:grpChg chg="add del mod">
          <ac:chgData name="Sathiyamurthy, Surya" userId="c54ee02c-8e9a-4b7d-aab4-004599faea71" providerId="ADAL" clId="{256701E8-6AD2-45F6-9289-CBAB9606D423}" dt="2022-03-25T06:09:03.583" v="483"/>
          <ac:grpSpMkLst>
            <pc:docMk/>
            <pc:sldMk cId="4096158020" sldId="262"/>
            <ac:grpSpMk id="196" creationId="{AB86FA45-08CD-45AF-91E1-9F66848B9DB6}"/>
          </ac:grpSpMkLst>
        </pc:grpChg>
        <pc:grpChg chg="add mod">
          <ac:chgData name="Sathiyamurthy, Surya" userId="c54ee02c-8e9a-4b7d-aab4-004599faea71" providerId="ADAL" clId="{256701E8-6AD2-45F6-9289-CBAB9606D423}" dt="2022-03-25T06:17:24.572" v="922" actId="1035"/>
          <ac:grpSpMkLst>
            <pc:docMk/>
            <pc:sldMk cId="4096158020" sldId="262"/>
            <ac:grpSpMk id="199" creationId="{F4C6AF01-AEA9-4C0D-9C33-5B45835AB70D}"/>
          </ac:grpSpMkLst>
        </pc:grpChg>
        <pc:grpChg chg="mod">
          <ac:chgData name="Sathiyamurthy, Surya" userId="c54ee02c-8e9a-4b7d-aab4-004599faea71" providerId="ADAL" clId="{256701E8-6AD2-45F6-9289-CBAB9606D423}" dt="2022-03-25T06:09:08.924" v="484"/>
          <ac:grpSpMkLst>
            <pc:docMk/>
            <pc:sldMk cId="4096158020" sldId="262"/>
            <ac:grpSpMk id="201" creationId="{0A10452C-7F90-46C2-A94A-154A639D86E0}"/>
          </ac:grpSpMkLst>
        </pc:grpChg>
        <pc:grpChg chg="mod">
          <ac:chgData name="Sathiyamurthy, Surya" userId="c54ee02c-8e9a-4b7d-aab4-004599faea71" providerId="ADAL" clId="{256701E8-6AD2-45F6-9289-CBAB9606D423}" dt="2022-03-25T06:09:08.924" v="484"/>
          <ac:grpSpMkLst>
            <pc:docMk/>
            <pc:sldMk cId="4096158020" sldId="262"/>
            <ac:grpSpMk id="202" creationId="{3A5A59B4-AD07-41C3-82DB-9B1324769097}"/>
          </ac:grpSpMkLst>
        </pc:grpChg>
        <pc:grpChg chg="mod">
          <ac:chgData name="Sathiyamurthy, Surya" userId="c54ee02c-8e9a-4b7d-aab4-004599faea71" providerId="ADAL" clId="{256701E8-6AD2-45F6-9289-CBAB9606D423}" dt="2022-03-25T06:09:08.924" v="484"/>
          <ac:grpSpMkLst>
            <pc:docMk/>
            <pc:sldMk cId="4096158020" sldId="262"/>
            <ac:grpSpMk id="203" creationId="{CC9C355D-F8B3-4229-BBF0-8CCBA769B198}"/>
          </ac:grpSpMkLst>
        </pc:grpChg>
        <pc:grpChg chg="add mod">
          <ac:chgData name="Sathiyamurthy, Surya" userId="c54ee02c-8e9a-4b7d-aab4-004599faea71" providerId="ADAL" clId="{256701E8-6AD2-45F6-9289-CBAB9606D423}" dt="2022-03-25T06:17:24.572" v="922" actId="1035"/>
          <ac:grpSpMkLst>
            <pc:docMk/>
            <pc:sldMk cId="4096158020" sldId="262"/>
            <ac:grpSpMk id="210" creationId="{7D198668-0EE0-4EBC-BD6D-60AA311998EE}"/>
          </ac:grpSpMkLst>
        </pc:grpChg>
        <pc:grpChg chg="add mod">
          <ac:chgData name="Sathiyamurthy, Surya" userId="c54ee02c-8e9a-4b7d-aab4-004599faea71" providerId="ADAL" clId="{256701E8-6AD2-45F6-9289-CBAB9606D423}" dt="2022-03-26T19:44:28.450" v="2179" actId="164"/>
          <ac:grpSpMkLst>
            <pc:docMk/>
            <pc:sldMk cId="4096158020" sldId="262"/>
            <ac:grpSpMk id="252" creationId="{CAB2C80F-3D47-4A13-9081-5A12C19706CD}"/>
          </ac:grpSpMkLst>
        </pc:grpChg>
        <pc:grpChg chg="add mod">
          <ac:chgData name="Sathiyamurthy, Surya" userId="c54ee02c-8e9a-4b7d-aab4-004599faea71" providerId="ADAL" clId="{256701E8-6AD2-45F6-9289-CBAB9606D423}" dt="2022-03-26T19:44:28.450" v="2179" actId="164"/>
          <ac:grpSpMkLst>
            <pc:docMk/>
            <pc:sldMk cId="4096158020" sldId="262"/>
            <ac:grpSpMk id="258" creationId="{13BD379B-2A5C-4190-9534-EBE1E5F76E39}"/>
          </ac:grpSpMkLst>
        </pc:grpChg>
        <pc:grpChg chg="add del mod">
          <ac:chgData name="Sathiyamurthy, Surya" userId="c54ee02c-8e9a-4b7d-aab4-004599faea71" providerId="ADAL" clId="{256701E8-6AD2-45F6-9289-CBAB9606D423}" dt="2022-03-25T06:39:19.719" v="1769"/>
          <ac:grpSpMkLst>
            <pc:docMk/>
            <pc:sldMk cId="4096158020" sldId="262"/>
            <ac:grpSpMk id="267" creationId="{9692E235-BED7-425B-912B-3C1FC69A81FA}"/>
          </ac:grpSpMkLst>
        </pc:grpChg>
        <pc:graphicFrameChg chg="mod modGraphic">
          <ac:chgData name="Sathiyamurthy, Surya" userId="c54ee02c-8e9a-4b7d-aab4-004599faea71" providerId="ADAL" clId="{256701E8-6AD2-45F6-9289-CBAB9606D423}" dt="2022-03-25T22:59:05.662" v="1931" actId="2711"/>
          <ac:graphicFrameMkLst>
            <pc:docMk/>
            <pc:sldMk cId="4096158020" sldId="262"/>
            <ac:graphicFrameMk id="11" creationId="{10143042-D2B9-4053-A7F2-5571E82D4C38}"/>
          </ac:graphicFrameMkLst>
        </pc:graphicFrameChg>
        <pc:graphicFrameChg chg="mod modGraphic">
          <ac:chgData name="Sathiyamurthy, Surya" userId="c54ee02c-8e9a-4b7d-aab4-004599faea71" providerId="ADAL" clId="{256701E8-6AD2-45F6-9289-CBAB9606D423}" dt="2022-03-26T19:31:01.719" v="1953"/>
          <ac:graphicFrameMkLst>
            <pc:docMk/>
            <pc:sldMk cId="4096158020" sldId="262"/>
            <ac:graphicFrameMk id="18" creationId="{EF5C91E8-517A-4DFB-987C-D413B1C851F6}"/>
          </ac:graphicFrameMkLst>
        </pc:graphicFrameChg>
        <pc:picChg chg="mod">
          <ac:chgData name="Sathiyamurthy, Surya" userId="c54ee02c-8e9a-4b7d-aab4-004599faea71" providerId="ADAL" clId="{256701E8-6AD2-45F6-9289-CBAB9606D423}" dt="2022-03-25T06:09:52.660" v="489" actId="2711"/>
          <ac:picMkLst>
            <pc:docMk/>
            <pc:sldMk cId="4096158020" sldId="262"/>
            <ac:picMk id="2" creationId="{2190725C-E5F5-DC42-97EE-8DC114C1437D}"/>
          </ac:picMkLst>
        </pc:picChg>
        <pc:picChg chg="mod">
          <ac:chgData name="Sathiyamurthy, Surya" userId="c54ee02c-8e9a-4b7d-aab4-004599faea71" providerId="ADAL" clId="{256701E8-6AD2-45F6-9289-CBAB9606D423}" dt="2022-03-25T06:09:52.660" v="489" actId="2711"/>
          <ac:picMkLst>
            <pc:docMk/>
            <pc:sldMk cId="4096158020" sldId="262"/>
            <ac:picMk id="51" creationId="{6F8665B3-8922-DA44-9313-A18C5B5C43FD}"/>
          </ac:picMkLst>
        </pc:picChg>
        <pc:picChg chg="mod">
          <ac:chgData name="Sathiyamurthy, Surya" userId="c54ee02c-8e9a-4b7d-aab4-004599faea71" providerId="ADAL" clId="{256701E8-6AD2-45F6-9289-CBAB9606D423}" dt="2022-03-25T06:09:52.660" v="489" actId="2711"/>
          <ac:picMkLst>
            <pc:docMk/>
            <pc:sldMk cId="4096158020" sldId="262"/>
            <ac:picMk id="104" creationId="{B830B4C9-47F5-B542-B4CD-E34A79CE7177}"/>
          </ac:picMkLst>
        </pc:picChg>
        <pc:picChg chg="mod">
          <ac:chgData name="Sathiyamurthy, Surya" userId="c54ee02c-8e9a-4b7d-aab4-004599faea71" providerId="ADAL" clId="{256701E8-6AD2-45F6-9289-CBAB9606D423}" dt="2022-03-25T06:09:52.660" v="489" actId="2711"/>
          <ac:picMkLst>
            <pc:docMk/>
            <pc:sldMk cId="4096158020" sldId="262"/>
            <ac:picMk id="153" creationId="{A0B942B5-4736-44C1-92EC-7540878FBBFC}"/>
          </ac:picMkLst>
        </pc:picChg>
        <pc:picChg chg="mod">
          <ac:chgData name="Sathiyamurthy, Surya" userId="c54ee02c-8e9a-4b7d-aab4-004599faea71" providerId="ADAL" clId="{256701E8-6AD2-45F6-9289-CBAB9606D423}" dt="2022-03-25T06:09:52.660" v="489" actId="2711"/>
          <ac:picMkLst>
            <pc:docMk/>
            <pc:sldMk cId="4096158020" sldId="262"/>
            <ac:picMk id="154" creationId="{C5F767D6-7853-4F58-9DF5-1EFD946ADB25}"/>
          </ac:picMkLst>
        </pc:picChg>
        <pc:picChg chg="mod">
          <ac:chgData name="Sathiyamurthy, Surya" userId="c54ee02c-8e9a-4b7d-aab4-004599faea71" providerId="ADAL" clId="{256701E8-6AD2-45F6-9289-CBAB9606D423}" dt="2022-03-25T06:09:52.660" v="489" actId="2711"/>
          <ac:picMkLst>
            <pc:docMk/>
            <pc:sldMk cId="4096158020" sldId="262"/>
            <ac:picMk id="155" creationId="{039138A8-CF30-417E-868C-4D2494CA10E2}"/>
          </ac:picMkLst>
        </pc:picChg>
        <pc:picChg chg="mod">
          <ac:chgData name="Sathiyamurthy, Surya" userId="c54ee02c-8e9a-4b7d-aab4-004599faea71" providerId="ADAL" clId="{256701E8-6AD2-45F6-9289-CBAB9606D423}" dt="2022-03-25T06:09:52.660" v="489" actId="2711"/>
          <ac:picMkLst>
            <pc:docMk/>
            <pc:sldMk cId="4096158020" sldId="262"/>
            <ac:picMk id="163" creationId="{392BFE80-9A19-4B64-B428-8950AFE7D399}"/>
          </ac:picMkLst>
        </pc:picChg>
        <pc:picChg chg="mod">
          <ac:chgData name="Sathiyamurthy, Surya" userId="c54ee02c-8e9a-4b7d-aab4-004599faea71" providerId="ADAL" clId="{256701E8-6AD2-45F6-9289-CBAB9606D423}" dt="2022-03-25T06:09:52.660" v="489" actId="2711"/>
          <ac:picMkLst>
            <pc:docMk/>
            <pc:sldMk cId="4096158020" sldId="262"/>
            <ac:picMk id="164" creationId="{ADF67F5E-42F5-47EF-8EBE-CAD7F6D55007}"/>
          </ac:picMkLst>
        </pc:picChg>
        <pc:picChg chg="mod">
          <ac:chgData name="Sathiyamurthy, Surya" userId="c54ee02c-8e9a-4b7d-aab4-004599faea71" providerId="ADAL" clId="{256701E8-6AD2-45F6-9289-CBAB9606D423}" dt="2022-03-25T06:09:52.660" v="489" actId="2711"/>
          <ac:picMkLst>
            <pc:docMk/>
            <pc:sldMk cId="4096158020" sldId="262"/>
            <ac:picMk id="165" creationId="{2728B3C1-28E0-4AE1-A3F9-892DE3162C30}"/>
          </ac:picMkLst>
        </pc:picChg>
        <pc:picChg chg="mod">
          <ac:chgData name="Sathiyamurthy, Surya" userId="c54ee02c-8e9a-4b7d-aab4-004599faea71" providerId="ADAL" clId="{256701E8-6AD2-45F6-9289-CBAB9606D423}" dt="2022-03-25T06:09:52.660" v="489" actId="2711"/>
          <ac:picMkLst>
            <pc:docMk/>
            <pc:sldMk cId="4096158020" sldId="262"/>
            <ac:picMk id="166" creationId="{7E01EEE4-5221-41BF-8991-DA529DF713DE}"/>
          </ac:picMkLst>
        </pc:picChg>
        <pc:picChg chg="mod">
          <ac:chgData name="Sathiyamurthy, Surya" userId="c54ee02c-8e9a-4b7d-aab4-004599faea71" providerId="ADAL" clId="{256701E8-6AD2-45F6-9289-CBAB9606D423}" dt="2022-03-25T06:09:00.517" v="482"/>
          <ac:picMkLst>
            <pc:docMk/>
            <pc:sldMk cId="4096158020" sldId="262"/>
            <ac:picMk id="186" creationId="{6A25E38C-3B07-4202-845A-A4D303585E1A}"/>
          </ac:picMkLst>
        </pc:picChg>
        <pc:picChg chg="mod">
          <ac:chgData name="Sathiyamurthy, Surya" userId="c54ee02c-8e9a-4b7d-aab4-004599faea71" providerId="ADAL" clId="{256701E8-6AD2-45F6-9289-CBAB9606D423}" dt="2022-03-25T06:09:00.517" v="482"/>
          <ac:picMkLst>
            <pc:docMk/>
            <pc:sldMk cId="4096158020" sldId="262"/>
            <ac:picMk id="194" creationId="{B8BFDFA2-179C-4417-84BF-52E40CDCC297}"/>
          </ac:picMkLst>
        </pc:picChg>
        <pc:picChg chg="mod">
          <ac:chgData name="Sathiyamurthy, Surya" userId="c54ee02c-8e9a-4b7d-aab4-004599faea71" providerId="ADAL" clId="{256701E8-6AD2-45F6-9289-CBAB9606D423}" dt="2022-03-25T06:09:00.517" v="482"/>
          <ac:picMkLst>
            <pc:docMk/>
            <pc:sldMk cId="4096158020" sldId="262"/>
            <ac:picMk id="197" creationId="{83B934F8-B1BC-43EB-95F4-132D353F2858}"/>
          </ac:picMkLst>
        </pc:picChg>
        <pc:picChg chg="mod">
          <ac:chgData name="Sathiyamurthy, Surya" userId="c54ee02c-8e9a-4b7d-aab4-004599faea71" providerId="ADAL" clId="{256701E8-6AD2-45F6-9289-CBAB9606D423}" dt="2022-03-25T06:09:08.924" v="484"/>
          <ac:picMkLst>
            <pc:docMk/>
            <pc:sldMk cId="4096158020" sldId="262"/>
            <ac:picMk id="204" creationId="{FAAE7418-D567-4FE9-931C-6F0C67645C84}"/>
          </ac:picMkLst>
        </pc:picChg>
        <pc:picChg chg="mod">
          <ac:chgData name="Sathiyamurthy, Surya" userId="c54ee02c-8e9a-4b7d-aab4-004599faea71" providerId="ADAL" clId="{256701E8-6AD2-45F6-9289-CBAB9606D423}" dt="2022-03-25T06:09:08.924" v="484"/>
          <ac:picMkLst>
            <pc:docMk/>
            <pc:sldMk cId="4096158020" sldId="262"/>
            <ac:picMk id="206" creationId="{A7FD9AE1-6C6D-4304-B89A-A59FECD5F0EC}"/>
          </ac:picMkLst>
        </pc:picChg>
        <pc:picChg chg="mod">
          <ac:chgData name="Sathiyamurthy, Surya" userId="c54ee02c-8e9a-4b7d-aab4-004599faea71" providerId="ADAL" clId="{256701E8-6AD2-45F6-9289-CBAB9606D423}" dt="2022-03-25T06:09:08.924" v="484"/>
          <ac:picMkLst>
            <pc:docMk/>
            <pc:sldMk cId="4096158020" sldId="262"/>
            <ac:picMk id="208" creationId="{CBE26ABF-1351-47E5-BC3E-3A83E1128A5E}"/>
          </ac:picMkLst>
        </pc:picChg>
        <pc:picChg chg="mod">
          <ac:chgData name="Sathiyamurthy, Surya" userId="c54ee02c-8e9a-4b7d-aab4-004599faea71" providerId="ADAL" clId="{256701E8-6AD2-45F6-9289-CBAB9606D423}" dt="2022-03-25T06:09:34.056" v="487"/>
          <ac:picMkLst>
            <pc:docMk/>
            <pc:sldMk cId="4096158020" sldId="262"/>
            <ac:picMk id="212" creationId="{0725BFE5-3DD4-4320-B076-CD64041333E7}"/>
          </ac:picMkLst>
        </pc:picChg>
        <pc:picChg chg="mod">
          <ac:chgData name="Sathiyamurthy, Surya" userId="c54ee02c-8e9a-4b7d-aab4-004599faea71" providerId="ADAL" clId="{256701E8-6AD2-45F6-9289-CBAB9606D423}" dt="2022-03-25T06:09:34.056" v="487"/>
          <ac:picMkLst>
            <pc:docMk/>
            <pc:sldMk cId="4096158020" sldId="262"/>
            <ac:picMk id="213" creationId="{30E3C002-D81E-4942-9EAD-F3B2F856B055}"/>
          </ac:picMkLst>
        </pc:picChg>
        <pc:picChg chg="mod">
          <ac:chgData name="Sathiyamurthy, Surya" userId="c54ee02c-8e9a-4b7d-aab4-004599faea71" providerId="ADAL" clId="{256701E8-6AD2-45F6-9289-CBAB9606D423}" dt="2022-03-25T06:09:34.056" v="487"/>
          <ac:picMkLst>
            <pc:docMk/>
            <pc:sldMk cId="4096158020" sldId="262"/>
            <ac:picMk id="217" creationId="{EAD68811-F316-46AD-A133-AA386A2EC658}"/>
          </ac:picMkLst>
        </pc:picChg>
        <pc:picChg chg="add mod">
          <ac:chgData name="Sathiyamurthy, Surya" userId="c54ee02c-8e9a-4b7d-aab4-004599faea71" providerId="ADAL" clId="{256701E8-6AD2-45F6-9289-CBAB9606D423}" dt="2022-03-25T06:32:34.080" v="1538" actId="12788"/>
          <ac:picMkLst>
            <pc:docMk/>
            <pc:sldMk cId="4096158020" sldId="262"/>
            <ac:picMk id="241" creationId="{B7990471-3650-478A-BAD3-2D63B6943544}"/>
          </ac:picMkLst>
        </pc:picChg>
        <pc:picChg chg="add mod">
          <ac:chgData name="Sathiyamurthy, Surya" userId="c54ee02c-8e9a-4b7d-aab4-004599faea71" providerId="ADAL" clId="{256701E8-6AD2-45F6-9289-CBAB9606D423}" dt="2022-03-25T06:32:36.614" v="1539" actId="12788"/>
          <ac:picMkLst>
            <pc:docMk/>
            <pc:sldMk cId="4096158020" sldId="262"/>
            <ac:picMk id="242" creationId="{33662174-66C7-4E15-9739-4D91060D063C}"/>
          </ac:picMkLst>
        </pc:picChg>
        <pc:picChg chg="add mod">
          <ac:chgData name="Sathiyamurthy, Surya" userId="c54ee02c-8e9a-4b7d-aab4-004599faea71" providerId="ADAL" clId="{256701E8-6AD2-45F6-9289-CBAB9606D423}" dt="2022-03-25T06:31:14.255" v="1493" actId="1076"/>
          <ac:picMkLst>
            <pc:docMk/>
            <pc:sldMk cId="4096158020" sldId="262"/>
            <ac:picMk id="244" creationId="{2040F0CE-D837-4FF1-BC0D-593B1FF8C268}"/>
          </ac:picMkLst>
        </pc:picChg>
        <pc:picChg chg="add mod modCrop">
          <ac:chgData name="Sathiyamurthy, Surya" userId="c54ee02c-8e9a-4b7d-aab4-004599faea71" providerId="ADAL" clId="{256701E8-6AD2-45F6-9289-CBAB9606D423}" dt="2022-03-25T06:31:04.232" v="1487" actId="14100"/>
          <ac:picMkLst>
            <pc:docMk/>
            <pc:sldMk cId="4096158020" sldId="262"/>
            <ac:picMk id="245" creationId="{CF5CC31F-BBD8-445A-B8D8-CE37C65C07F4}"/>
          </ac:picMkLst>
        </pc:picChg>
        <pc:picChg chg="add del mod">
          <ac:chgData name="Sathiyamurthy, Surya" userId="c54ee02c-8e9a-4b7d-aab4-004599faea71" providerId="ADAL" clId="{256701E8-6AD2-45F6-9289-CBAB9606D423}" dt="2022-03-25T06:30:36.756" v="1438" actId="478"/>
          <ac:picMkLst>
            <pc:docMk/>
            <pc:sldMk cId="4096158020" sldId="262"/>
            <ac:picMk id="246" creationId="{072D1505-D2A9-42D9-9140-00D47C0B3E50}"/>
          </ac:picMkLst>
        </pc:picChg>
        <pc:picChg chg="mod">
          <ac:chgData name="Sathiyamurthy, Surya" userId="c54ee02c-8e9a-4b7d-aab4-004599faea71" providerId="ADAL" clId="{256701E8-6AD2-45F6-9289-CBAB9606D423}" dt="2022-03-26T19:44:28.450" v="2179" actId="164"/>
          <ac:picMkLst>
            <pc:docMk/>
            <pc:sldMk cId="4096158020" sldId="262"/>
            <ac:picMk id="262" creationId="{7D75D2FA-F210-42B3-806E-E96642813E05}"/>
          </ac:picMkLst>
        </pc:picChg>
        <pc:picChg chg="mod">
          <ac:chgData name="Sathiyamurthy, Surya" userId="c54ee02c-8e9a-4b7d-aab4-004599faea71" providerId="ADAL" clId="{256701E8-6AD2-45F6-9289-CBAB9606D423}" dt="2022-03-25T06:39:18.419" v="1768"/>
          <ac:picMkLst>
            <pc:docMk/>
            <pc:sldMk cId="4096158020" sldId="262"/>
            <ac:picMk id="271" creationId="{309B623D-5EA4-4D3F-8DEB-BE994CF6BAAB}"/>
          </ac:picMkLst>
        </pc:picChg>
        <pc:picChg chg="del mod">
          <ac:chgData name="Sathiyamurthy, Surya" userId="c54ee02c-8e9a-4b7d-aab4-004599faea71" providerId="ADAL" clId="{256701E8-6AD2-45F6-9289-CBAB9606D423}" dt="2022-03-25T06:18:30.234" v="925" actId="478"/>
          <ac:picMkLst>
            <pc:docMk/>
            <pc:sldMk cId="4096158020" sldId="262"/>
            <ac:picMk id="1026" creationId="{1329F9C1-9F83-4499-83E4-D9DD148E925F}"/>
          </ac:picMkLst>
        </pc:picChg>
        <pc:picChg chg="del mod">
          <ac:chgData name="Sathiyamurthy, Surya" userId="c54ee02c-8e9a-4b7d-aab4-004599faea71" providerId="ADAL" clId="{256701E8-6AD2-45F6-9289-CBAB9606D423}" dt="2022-03-25T06:18:30.234" v="925" actId="478"/>
          <ac:picMkLst>
            <pc:docMk/>
            <pc:sldMk cId="4096158020" sldId="262"/>
            <ac:picMk id="1028" creationId="{DF5AA243-121E-4484-94AB-42030654229A}"/>
          </ac:picMkLst>
        </pc:picChg>
        <pc:cxnChg chg="mod">
          <ac:chgData name="Sathiyamurthy, Surya" userId="c54ee02c-8e9a-4b7d-aab4-004599faea71" providerId="ADAL" clId="{256701E8-6AD2-45F6-9289-CBAB9606D423}" dt="2022-03-25T06:09:52.660" v="489" actId="2711"/>
          <ac:cxnSpMkLst>
            <pc:docMk/>
            <pc:sldMk cId="4096158020" sldId="262"/>
            <ac:cxnSpMk id="48" creationId="{94EFE378-7A38-2E49-951A-7DF60DCA1EA9}"/>
          </ac:cxnSpMkLst>
        </pc:cxnChg>
        <pc:cxnChg chg="mod">
          <ac:chgData name="Sathiyamurthy, Surya" userId="c54ee02c-8e9a-4b7d-aab4-004599faea71" providerId="ADAL" clId="{256701E8-6AD2-45F6-9289-CBAB9606D423}" dt="2022-03-25T06:09:52.660" v="489" actId="2711"/>
          <ac:cxnSpMkLst>
            <pc:docMk/>
            <pc:sldMk cId="4096158020" sldId="262"/>
            <ac:cxnSpMk id="50" creationId="{CE48337D-A4A4-4645-825B-A2F0BF8BF3C1}"/>
          </ac:cxnSpMkLst>
        </pc:cxnChg>
        <pc:cxnChg chg="mod">
          <ac:chgData name="Sathiyamurthy, Surya" userId="c54ee02c-8e9a-4b7d-aab4-004599faea71" providerId="ADAL" clId="{256701E8-6AD2-45F6-9289-CBAB9606D423}" dt="2022-03-29T00:38:30.455" v="2354" actId="1038"/>
          <ac:cxnSpMkLst>
            <pc:docMk/>
            <pc:sldMk cId="4096158020" sldId="262"/>
            <ac:cxnSpMk id="106" creationId="{671F4C21-2D6A-4999-9015-86C6BCC36BB8}"/>
          </ac:cxnSpMkLst>
        </pc:cxnChg>
        <pc:cxnChg chg="mod">
          <ac:chgData name="Sathiyamurthy, Surya" userId="c54ee02c-8e9a-4b7d-aab4-004599faea71" providerId="ADAL" clId="{256701E8-6AD2-45F6-9289-CBAB9606D423}" dt="2022-03-29T00:38:30.455" v="2354" actId="1038"/>
          <ac:cxnSpMkLst>
            <pc:docMk/>
            <pc:sldMk cId="4096158020" sldId="262"/>
            <ac:cxnSpMk id="107" creationId="{58CD57BE-2AF6-4EC2-B2AB-FECE1547A2C9}"/>
          </ac:cxnSpMkLst>
        </pc:cxnChg>
        <pc:cxnChg chg="mod">
          <ac:chgData name="Sathiyamurthy, Surya" userId="c54ee02c-8e9a-4b7d-aab4-004599faea71" providerId="ADAL" clId="{256701E8-6AD2-45F6-9289-CBAB9606D423}" dt="2022-03-29T00:38:30.455" v="2354" actId="1038"/>
          <ac:cxnSpMkLst>
            <pc:docMk/>
            <pc:sldMk cId="4096158020" sldId="262"/>
            <ac:cxnSpMk id="108" creationId="{C4AB35C2-571F-4E7B-B72E-6C7948D23BCF}"/>
          </ac:cxnSpMkLst>
        </pc:cxnChg>
        <pc:cxnChg chg="add mod">
          <ac:chgData name="Sathiyamurthy, Surya" userId="c54ee02c-8e9a-4b7d-aab4-004599faea71" providerId="ADAL" clId="{256701E8-6AD2-45F6-9289-CBAB9606D423}" dt="2022-03-25T06:25:43.438" v="1277" actId="1035"/>
          <ac:cxnSpMkLst>
            <pc:docMk/>
            <pc:sldMk cId="4096158020" sldId="262"/>
            <ac:cxnSpMk id="237" creationId="{8C5A29B7-A6F8-4D0D-AE81-37F5C938D639}"/>
          </ac:cxnSpMkLst>
        </pc:cxnChg>
        <pc:cxnChg chg="add mod">
          <ac:chgData name="Sathiyamurthy, Surya" userId="c54ee02c-8e9a-4b7d-aab4-004599faea71" providerId="ADAL" clId="{256701E8-6AD2-45F6-9289-CBAB9606D423}" dt="2022-03-25T06:25:43.438" v="1277" actId="1035"/>
          <ac:cxnSpMkLst>
            <pc:docMk/>
            <pc:sldMk cId="4096158020" sldId="262"/>
            <ac:cxnSpMk id="238" creationId="{7F96FC2E-D499-4D8E-B90A-DE6DFB94FB8C}"/>
          </ac:cxnSpMkLst>
        </pc:cxnChg>
        <pc:cxnChg chg="add del mod">
          <ac:chgData name="Sathiyamurthy, Surya" userId="c54ee02c-8e9a-4b7d-aab4-004599faea71" providerId="ADAL" clId="{256701E8-6AD2-45F6-9289-CBAB9606D423}" dt="2022-03-25T06:38:56.517" v="1751" actId="478"/>
          <ac:cxnSpMkLst>
            <pc:docMk/>
            <pc:sldMk cId="4096158020" sldId="262"/>
            <ac:cxnSpMk id="265" creationId="{AED1E74E-23DC-4424-94BF-A9AFF90B68BE}"/>
          </ac:cxnSpMkLst>
        </pc:cxnChg>
      </pc:sldChg>
    </pc:docChg>
  </pc:docChgLst>
  <pc:docChgLst>
    <pc:chgData name="Gajavalli, Pratyusha" userId="7f3b178b-4b8b-4799-b36a-d25725f027ed" providerId="ADAL" clId="{C8E56D32-2557-4871-8DC4-D4C0C285A9ED}"/>
    <pc:docChg chg="modSld">
      <pc:chgData name="Gajavalli, Pratyusha" userId="7f3b178b-4b8b-4799-b36a-d25725f027ed" providerId="ADAL" clId="{C8E56D32-2557-4871-8DC4-D4C0C285A9ED}" dt="2022-04-01T00:45:41.421" v="34"/>
      <pc:docMkLst>
        <pc:docMk/>
      </pc:docMkLst>
      <pc:sldChg chg="modSp mod">
        <pc:chgData name="Gajavalli, Pratyusha" userId="7f3b178b-4b8b-4799-b36a-d25725f027ed" providerId="ADAL" clId="{C8E56D32-2557-4871-8DC4-D4C0C285A9ED}" dt="2022-04-01T00:45:41.421" v="34"/>
        <pc:sldMkLst>
          <pc:docMk/>
          <pc:sldMk cId="4096158020" sldId="262"/>
        </pc:sldMkLst>
        <pc:spChg chg="mod">
          <ac:chgData name="Gajavalli, Pratyusha" userId="7f3b178b-4b8b-4799-b36a-d25725f027ed" providerId="ADAL" clId="{C8E56D32-2557-4871-8DC4-D4C0C285A9ED}" dt="2022-03-27T02:09:53.636" v="0" actId="14100"/>
          <ac:spMkLst>
            <pc:docMk/>
            <pc:sldMk cId="4096158020" sldId="262"/>
            <ac:spMk id="4" creationId="{7F1D5313-A7CD-224A-9618-4E3F37D541A4}"/>
          </ac:spMkLst>
        </pc:spChg>
        <pc:spChg chg="mod">
          <ac:chgData name="Gajavalli, Pratyusha" userId="7f3b178b-4b8b-4799-b36a-d25725f027ed" providerId="ADAL" clId="{C8E56D32-2557-4871-8DC4-D4C0C285A9ED}" dt="2022-03-27T02:12:22.391" v="6" actId="20577"/>
          <ac:spMkLst>
            <pc:docMk/>
            <pc:sldMk cId="4096158020" sldId="262"/>
            <ac:spMk id="5" creationId="{6B44E15B-AD84-E248-8486-A835618F9585}"/>
          </ac:spMkLst>
        </pc:spChg>
        <pc:spChg chg="mod">
          <ac:chgData name="Gajavalli, Pratyusha" userId="7f3b178b-4b8b-4799-b36a-d25725f027ed" providerId="ADAL" clId="{C8E56D32-2557-4871-8DC4-D4C0C285A9ED}" dt="2022-03-27T02:15:54.608" v="21" actId="20577"/>
          <ac:spMkLst>
            <pc:docMk/>
            <pc:sldMk cId="4096158020" sldId="262"/>
            <ac:spMk id="7" creationId="{43255538-6601-CD43-90F8-F249661FBACA}"/>
          </ac:spMkLst>
        </pc:spChg>
        <pc:spChg chg="mod">
          <ac:chgData name="Gajavalli, Pratyusha" userId="7f3b178b-4b8b-4799-b36a-d25725f027ed" providerId="ADAL" clId="{C8E56D32-2557-4871-8DC4-D4C0C285A9ED}" dt="2022-03-27T02:12:36.196" v="7" actId="1076"/>
          <ac:spMkLst>
            <pc:docMk/>
            <pc:sldMk cId="4096158020" sldId="262"/>
            <ac:spMk id="100" creationId="{DEF65FC7-BAC5-324C-AFB9-A79367124296}"/>
          </ac:spMkLst>
        </pc:spChg>
        <pc:spChg chg="mod">
          <ac:chgData name="Gajavalli, Pratyusha" userId="7f3b178b-4b8b-4799-b36a-d25725f027ed" providerId="ADAL" clId="{C8E56D32-2557-4871-8DC4-D4C0C285A9ED}" dt="2022-04-01T00:45:30.691" v="33" actId="20577"/>
          <ac:spMkLst>
            <pc:docMk/>
            <pc:sldMk cId="4096158020" sldId="262"/>
            <ac:spMk id="229" creationId="{B61968C3-196E-4962-A872-4BC4BA09CC64}"/>
          </ac:spMkLst>
        </pc:spChg>
        <pc:spChg chg="mod">
          <ac:chgData name="Gajavalli, Pratyusha" userId="7f3b178b-4b8b-4799-b36a-d25725f027ed" providerId="ADAL" clId="{C8E56D32-2557-4871-8DC4-D4C0C285A9ED}" dt="2022-04-01T00:45:41.421" v="34"/>
          <ac:spMkLst>
            <pc:docMk/>
            <pc:sldMk cId="4096158020" sldId="262"/>
            <ac:spMk id="231" creationId="{B30389C8-6E94-48B9-BAA6-337171E17B64}"/>
          </ac:spMkLst>
        </pc:spChg>
      </pc:sldChg>
    </pc:docChg>
  </pc:docChgLst>
  <pc:docChgLst>
    <pc:chgData name="Tiffany, Evan Robert" userId="S::etiffany@purdue.edu::ea4c46ce-7a72-4b91-a17d-36b338b5a71d" providerId="AD" clId="Web-{ACAFF549-4C6B-529A-6E34-99A6C64CB348}"/>
    <pc:docChg chg="mod">
      <pc:chgData name="Tiffany, Evan Robert" userId="S::etiffany@purdue.edu::ea4c46ce-7a72-4b91-a17d-36b338b5a71d" providerId="AD" clId="Web-{ACAFF549-4C6B-529A-6E34-99A6C64CB348}" dt="2023-01-09T16:31:15.227" v="0" actId="33475"/>
      <pc:docMkLst>
        <pc:docMk/>
      </pc:docMkLst>
    </pc:docChg>
  </pc:docChgLst>
  <pc:docChgLst>
    <pc:chgData name="Sharma, Rishabh" userId="S::sharm451@purdue.edu::29e178c3-462b-491f-9a40-b25bb1a6e5ed" providerId="AD" clId="Web-{40D6163C-3454-416D-B3AC-4EF31FB47C70}"/>
    <pc:docChg chg="modSld">
      <pc:chgData name="Sharma, Rishabh" userId="S::sharm451@purdue.edu::29e178c3-462b-491f-9a40-b25bb1a6e5ed" providerId="AD" clId="Web-{40D6163C-3454-416D-B3AC-4EF31FB47C70}" dt="2022-03-25T23:52:50.750" v="0" actId="1076"/>
      <pc:docMkLst>
        <pc:docMk/>
      </pc:docMkLst>
      <pc:sldChg chg="modSp">
        <pc:chgData name="Sharma, Rishabh" userId="S::sharm451@purdue.edu::29e178c3-462b-491f-9a40-b25bb1a6e5ed" providerId="AD" clId="Web-{40D6163C-3454-416D-B3AC-4EF31FB47C70}" dt="2022-03-25T23:52:50.750" v="0" actId="1076"/>
        <pc:sldMkLst>
          <pc:docMk/>
          <pc:sldMk cId="4096158020" sldId="262"/>
        </pc:sldMkLst>
        <pc:spChg chg="mod">
          <ac:chgData name="Sharma, Rishabh" userId="S::sharm451@purdue.edu::29e178c3-462b-491f-9a40-b25bb1a6e5ed" providerId="AD" clId="Web-{40D6163C-3454-416D-B3AC-4EF31FB47C70}" dt="2022-03-25T23:52:50.750" v="0" actId="1076"/>
          <ac:spMkLst>
            <pc:docMk/>
            <pc:sldMk cId="4096158020" sldId="262"/>
            <ac:spMk id="220" creationId="{1309314C-CB16-46BA-AD5B-6A8F1AE5BDEB}"/>
          </ac:spMkLst>
        </pc:spChg>
      </pc:sldChg>
    </pc:docChg>
  </pc:docChgLst>
  <pc:docChgLst>
    <pc:chgData name="Surya Sathiyamurthy" userId="c54ee02c-8e9a-4b7d-aab4-004599faea71" providerId="ADAL" clId="{C75E0395-5B73-4BB2-A042-E36D82C929D1}"/>
    <pc:docChg chg="undo redo custSel modSld">
      <pc:chgData name="Surya Sathiyamurthy" userId="c54ee02c-8e9a-4b7d-aab4-004599faea71" providerId="ADAL" clId="{C75E0395-5B73-4BB2-A042-E36D82C929D1}" dt="2022-03-04T22:53:55.443" v="1323" actId="20577"/>
      <pc:docMkLst>
        <pc:docMk/>
      </pc:docMkLst>
      <pc:sldChg chg="addSp delSp modSp mod">
        <pc:chgData name="Surya Sathiyamurthy" userId="c54ee02c-8e9a-4b7d-aab4-004599faea71" providerId="ADAL" clId="{C75E0395-5B73-4BB2-A042-E36D82C929D1}" dt="2022-03-04T22:53:55.443" v="1323" actId="20577"/>
        <pc:sldMkLst>
          <pc:docMk/>
          <pc:sldMk cId="4096158020" sldId="262"/>
        </pc:sldMkLst>
        <pc:spChg chg="mod">
          <ac:chgData name="Surya Sathiyamurthy" userId="c54ee02c-8e9a-4b7d-aab4-004599faea71" providerId="ADAL" clId="{C75E0395-5B73-4BB2-A042-E36D82C929D1}" dt="2022-03-04T22:34:06.399" v="25" actId="1035"/>
          <ac:spMkLst>
            <pc:docMk/>
            <pc:sldMk cId="4096158020" sldId="262"/>
            <ac:spMk id="4" creationId="{7F1D5313-A7CD-224A-9618-4E3F37D541A4}"/>
          </ac:spMkLst>
        </pc:spChg>
        <pc:spChg chg="mod">
          <ac:chgData name="Surya Sathiyamurthy" userId="c54ee02c-8e9a-4b7d-aab4-004599faea71" providerId="ADAL" clId="{C75E0395-5B73-4BB2-A042-E36D82C929D1}" dt="2022-03-04T22:34:08.970" v="36" actId="1035"/>
          <ac:spMkLst>
            <pc:docMk/>
            <pc:sldMk cId="4096158020" sldId="262"/>
            <ac:spMk id="5" creationId="{6B44E15B-AD84-E248-8486-A835618F9585}"/>
          </ac:spMkLst>
        </pc:spChg>
        <pc:spChg chg="mod">
          <ac:chgData name="Surya Sathiyamurthy" userId="c54ee02c-8e9a-4b7d-aab4-004599faea71" providerId="ADAL" clId="{C75E0395-5B73-4BB2-A042-E36D82C929D1}" dt="2022-03-04T22:34:12.062" v="46" actId="1035"/>
          <ac:spMkLst>
            <pc:docMk/>
            <pc:sldMk cId="4096158020" sldId="262"/>
            <ac:spMk id="6" creationId="{C04C1467-AA9F-AC44-A9EA-C8027648523B}"/>
          </ac:spMkLst>
        </pc:spChg>
        <pc:spChg chg="mod">
          <ac:chgData name="Surya Sathiyamurthy" userId="c54ee02c-8e9a-4b7d-aab4-004599faea71" providerId="ADAL" clId="{C75E0395-5B73-4BB2-A042-E36D82C929D1}" dt="2022-03-04T22:34:33.779" v="83" actId="465"/>
          <ac:spMkLst>
            <pc:docMk/>
            <pc:sldMk cId="4096158020" sldId="262"/>
            <ac:spMk id="7" creationId="{43255538-6601-CD43-90F8-F249661FBACA}"/>
          </ac:spMkLst>
        </pc:spChg>
        <pc:spChg chg="mod">
          <ac:chgData name="Surya Sathiyamurthy" userId="c54ee02c-8e9a-4b7d-aab4-004599faea71" providerId="ADAL" clId="{C75E0395-5B73-4BB2-A042-E36D82C929D1}" dt="2022-03-04T22:34:33.779" v="83" actId="465"/>
          <ac:spMkLst>
            <pc:docMk/>
            <pc:sldMk cId="4096158020" sldId="262"/>
            <ac:spMk id="8" creationId="{4EC5C8DC-2943-674D-AC0B-5A223EFB9DFE}"/>
          </ac:spMkLst>
        </pc:spChg>
        <pc:spChg chg="mod">
          <ac:chgData name="Surya Sathiyamurthy" userId="c54ee02c-8e9a-4b7d-aab4-004599faea71" providerId="ADAL" clId="{C75E0395-5B73-4BB2-A042-E36D82C929D1}" dt="2022-03-04T22:34:23.467" v="74" actId="1035"/>
          <ac:spMkLst>
            <pc:docMk/>
            <pc:sldMk cId="4096158020" sldId="262"/>
            <ac:spMk id="9" creationId="{6F2E9070-9489-5448-8F2E-39BDAC89CC91}"/>
          </ac:spMkLst>
        </pc:spChg>
        <pc:spChg chg="mod">
          <ac:chgData name="Surya Sathiyamurthy" userId="c54ee02c-8e9a-4b7d-aab4-004599faea71" providerId="ADAL" clId="{C75E0395-5B73-4BB2-A042-E36D82C929D1}" dt="2022-03-04T22:35:32.985" v="233" actId="403"/>
          <ac:spMkLst>
            <pc:docMk/>
            <pc:sldMk cId="4096158020" sldId="262"/>
            <ac:spMk id="42" creationId="{D92DB5B5-5EB2-844F-8102-BFDAA8558319}"/>
          </ac:spMkLst>
        </pc:spChg>
        <pc:spChg chg="mod">
          <ac:chgData name="Surya Sathiyamurthy" userId="c54ee02c-8e9a-4b7d-aab4-004599faea71" providerId="ADAL" clId="{C75E0395-5B73-4BB2-A042-E36D82C929D1}" dt="2022-03-04T22:36:26.155" v="247" actId="1035"/>
          <ac:spMkLst>
            <pc:docMk/>
            <pc:sldMk cId="4096158020" sldId="262"/>
            <ac:spMk id="44" creationId="{EE4CC1A1-8CAB-8B42-8965-ECE0927D951E}"/>
          </ac:spMkLst>
        </pc:spChg>
        <pc:spChg chg="mod">
          <ac:chgData name="Surya Sathiyamurthy" userId="c54ee02c-8e9a-4b7d-aab4-004599faea71" providerId="ADAL" clId="{C75E0395-5B73-4BB2-A042-E36D82C929D1}" dt="2022-03-04T22:48:23.509" v="692" actId="1036"/>
          <ac:spMkLst>
            <pc:docMk/>
            <pc:sldMk cId="4096158020" sldId="262"/>
            <ac:spMk id="46" creationId="{629E306B-603B-694A-A8E1-71F5BED27672}"/>
          </ac:spMkLst>
        </pc:spChg>
        <pc:spChg chg="mod">
          <ac:chgData name="Surya Sathiyamurthy" userId="c54ee02c-8e9a-4b7d-aab4-004599faea71" providerId="ADAL" clId="{C75E0395-5B73-4BB2-A042-E36D82C929D1}" dt="2022-03-04T22:53:55.443" v="1323" actId="20577"/>
          <ac:spMkLst>
            <pc:docMk/>
            <pc:sldMk cId="4096158020" sldId="262"/>
            <ac:spMk id="53" creationId="{F6B55F38-EF67-C748-A73D-5B4492FA143A}"/>
          </ac:spMkLst>
        </pc:spChg>
        <pc:spChg chg="del">
          <ac:chgData name="Surya Sathiyamurthy" userId="c54ee02c-8e9a-4b7d-aab4-004599faea71" providerId="ADAL" clId="{C75E0395-5B73-4BB2-A042-E36D82C929D1}" dt="2022-03-04T22:48:09.906" v="683" actId="478"/>
          <ac:spMkLst>
            <pc:docMk/>
            <pc:sldMk cId="4096158020" sldId="262"/>
            <ac:spMk id="55" creationId="{71DB72B5-C844-2749-8692-776B9CABF316}"/>
          </ac:spMkLst>
        </pc:spChg>
        <pc:spChg chg="mod">
          <ac:chgData name="Surya Sathiyamurthy" userId="c54ee02c-8e9a-4b7d-aab4-004599faea71" providerId="ADAL" clId="{C75E0395-5B73-4BB2-A042-E36D82C929D1}" dt="2022-03-04T22:49:58.182" v="774" actId="1036"/>
          <ac:spMkLst>
            <pc:docMk/>
            <pc:sldMk cId="4096158020" sldId="262"/>
            <ac:spMk id="57" creationId="{E4A64FCA-BC03-B144-ABA4-9479987E99E4}"/>
          </ac:spMkLst>
        </pc:spChg>
        <pc:spChg chg="del">
          <ac:chgData name="Surya Sathiyamurthy" userId="c54ee02c-8e9a-4b7d-aab4-004599faea71" providerId="ADAL" clId="{C75E0395-5B73-4BB2-A042-E36D82C929D1}" dt="2022-03-04T22:48:55.153" v="721" actId="478"/>
          <ac:spMkLst>
            <pc:docMk/>
            <pc:sldMk cId="4096158020" sldId="262"/>
            <ac:spMk id="59" creationId="{1356E437-450E-934F-8E48-8E0927DCB3B8}"/>
          </ac:spMkLst>
        </pc:spChg>
        <pc:spChg chg="del">
          <ac:chgData name="Surya Sathiyamurthy" userId="c54ee02c-8e9a-4b7d-aab4-004599faea71" providerId="ADAL" clId="{C75E0395-5B73-4BB2-A042-E36D82C929D1}" dt="2022-03-04T22:48:55.153" v="721" actId="478"/>
          <ac:spMkLst>
            <pc:docMk/>
            <pc:sldMk cId="4096158020" sldId="262"/>
            <ac:spMk id="62" creationId="{85980C2C-FE92-2240-8B21-E38877CD4F75}"/>
          </ac:spMkLst>
        </pc:spChg>
        <pc:spChg chg="del">
          <ac:chgData name="Surya Sathiyamurthy" userId="c54ee02c-8e9a-4b7d-aab4-004599faea71" providerId="ADAL" clId="{C75E0395-5B73-4BB2-A042-E36D82C929D1}" dt="2022-03-04T22:48:01.345" v="679" actId="478"/>
          <ac:spMkLst>
            <pc:docMk/>
            <pc:sldMk cId="4096158020" sldId="262"/>
            <ac:spMk id="64" creationId="{BE9035CD-FFBE-B84D-A65E-204C8671F4C6}"/>
          </ac:spMkLst>
        </pc:spChg>
        <pc:spChg chg="del">
          <ac:chgData name="Surya Sathiyamurthy" userId="c54ee02c-8e9a-4b7d-aab4-004599faea71" providerId="ADAL" clId="{C75E0395-5B73-4BB2-A042-E36D82C929D1}" dt="2022-03-04T22:48:55.153" v="721" actId="478"/>
          <ac:spMkLst>
            <pc:docMk/>
            <pc:sldMk cId="4096158020" sldId="262"/>
            <ac:spMk id="65" creationId="{AF1109C9-F7FE-1C46-8085-0276F0FD1829}"/>
          </ac:spMkLst>
        </pc:spChg>
        <pc:spChg chg="del">
          <ac:chgData name="Surya Sathiyamurthy" userId="c54ee02c-8e9a-4b7d-aab4-004599faea71" providerId="ADAL" clId="{C75E0395-5B73-4BB2-A042-E36D82C929D1}" dt="2022-03-04T22:48:55.153" v="721" actId="478"/>
          <ac:spMkLst>
            <pc:docMk/>
            <pc:sldMk cId="4096158020" sldId="262"/>
            <ac:spMk id="66" creationId="{A5AC975D-0628-F242-83C7-B84F25D59B36}"/>
          </ac:spMkLst>
        </pc:spChg>
        <pc:spChg chg="ord">
          <ac:chgData name="Surya Sathiyamurthy" userId="c54ee02c-8e9a-4b7d-aab4-004599faea71" providerId="ADAL" clId="{C75E0395-5B73-4BB2-A042-E36D82C929D1}" dt="2022-03-04T22:41:47.227" v="552" actId="167"/>
          <ac:spMkLst>
            <pc:docMk/>
            <pc:sldMk cId="4096158020" sldId="262"/>
            <ac:spMk id="100" creationId="{DEF65FC7-BAC5-324C-AFB9-A79367124296}"/>
          </ac:spMkLst>
        </pc:spChg>
        <pc:spChg chg="mod">
          <ac:chgData name="Surya Sathiyamurthy" userId="c54ee02c-8e9a-4b7d-aab4-004599faea71" providerId="ADAL" clId="{C75E0395-5B73-4BB2-A042-E36D82C929D1}" dt="2022-03-04T22:35:27.868" v="232" actId="1038"/>
          <ac:spMkLst>
            <pc:docMk/>
            <pc:sldMk cId="4096158020" sldId="262"/>
            <ac:spMk id="105" creationId="{21F29DFD-7BF6-4B82-B8D1-85D023E6EC32}"/>
          </ac:spMkLst>
        </pc:spChg>
        <pc:spChg chg="mod">
          <ac:chgData name="Surya Sathiyamurthy" userId="c54ee02c-8e9a-4b7d-aab4-004599faea71" providerId="ADAL" clId="{C75E0395-5B73-4BB2-A042-E36D82C929D1}" dt="2022-03-04T22:34:42.658" v="84" actId="403"/>
          <ac:spMkLst>
            <pc:docMk/>
            <pc:sldMk cId="4096158020" sldId="262"/>
            <ac:spMk id="114" creationId="{6AFA99A6-BA1D-44C4-8F4A-7D4DD68032D2}"/>
          </ac:spMkLst>
        </pc:spChg>
        <pc:spChg chg="mod">
          <ac:chgData name="Surya Sathiyamurthy" userId="c54ee02c-8e9a-4b7d-aab4-004599faea71" providerId="ADAL" clId="{C75E0395-5B73-4BB2-A042-E36D82C929D1}" dt="2022-03-04T22:34:47.343" v="85" actId="403"/>
          <ac:spMkLst>
            <pc:docMk/>
            <pc:sldMk cId="4096158020" sldId="262"/>
            <ac:spMk id="115" creationId="{C8AE35F7-613C-4A84-8BAE-6E663EE5F55F}"/>
          </ac:spMkLst>
        </pc:spChg>
        <pc:spChg chg="mod">
          <ac:chgData name="Surya Sathiyamurthy" userId="c54ee02c-8e9a-4b7d-aab4-004599faea71" providerId="ADAL" clId="{C75E0395-5B73-4BB2-A042-E36D82C929D1}" dt="2022-03-04T22:35:52.158" v="234" actId="255"/>
          <ac:spMkLst>
            <pc:docMk/>
            <pc:sldMk cId="4096158020" sldId="262"/>
            <ac:spMk id="121" creationId="{4035F42A-E3E7-4C81-AB64-EF4617B7EB22}"/>
          </ac:spMkLst>
        </pc:spChg>
        <pc:spChg chg="mod">
          <ac:chgData name="Surya Sathiyamurthy" userId="c54ee02c-8e9a-4b7d-aab4-004599faea71" providerId="ADAL" clId="{C75E0395-5B73-4BB2-A042-E36D82C929D1}" dt="2022-03-04T22:35:52.158" v="234" actId="255"/>
          <ac:spMkLst>
            <pc:docMk/>
            <pc:sldMk cId="4096158020" sldId="262"/>
            <ac:spMk id="122" creationId="{3E4C133B-7B50-4CD5-AE26-AC25A3D533E7}"/>
          </ac:spMkLst>
        </pc:spChg>
        <pc:spChg chg="mod ord">
          <ac:chgData name="Surya Sathiyamurthy" userId="c54ee02c-8e9a-4b7d-aab4-004599faea71" providerId="ADAL" clId="{C75E0395-5B73-4BB2-A042-E36D82C929D1}" dt="2022-03-04T22:36:12.188" v="236" actId="166"/>
          <ac:spMkLst>
            <pc:docMk/>
            <pc:sldMk cId="4096158020" sldId="262"/>
            <ac:spMk id="131" creationId="{957A79D5-9E32-4BA4-9C6E-FC34A0FC5521}"/>
          </ac:spMkLst>
        </pc:spChg>
        <pc:spChg chg="mod ord">
          <ac:chgData name="Surya Sathiyamurthy" userId="c54ee02c-8e9a-4b7d-aab4-004599faea71" providerId="ADAL" clId="{C75E0395-5B73-4BB2-A042-E36D82C929D1}" dt="2022-03-04T22:36:12.188" v="236" actId="166"/>
          <ac:spMkLst>
            <pc:docMk/>
            <pc:sldMk cId="4096158020" sldId="262"/>
            <ac:spMk id="132" creationId="{86035E55-CF62-41C1-932D-366256FA7FB8}"/>
          </ac:spMkLst>
        </pc:spChg>
        <pc:spChg chg="mod ord">
          <ac:chgData name="Surya Sathiyamurthy" userId="c54ee02c-8e9a-4b7d-aab4-004599faea71" providerId="ADAL" clId="{C75E0395-5B73-4BB2-A042-E36D82C929D1}" dt="2022-03-04T22:36:12.188" v="236" actId="166"/>
          <ac:spMkLst>
            <pc:docMk/>
            <pc:sldMk cId="4096158020" sldId="262"/>
            <ac:spMk id="133" creationId="{B2F34A7C-2DB4-4373-B2A9-94E6C881E6F2}"/>
          </ac:spMkLst>
        </pc:spChg>
        <pc:spChg chg="mod ord">
          <ac:chgData name="Surya Sathiyamurthy" userId="c54ee02c-8e9a-4b7d-aab4-004599faea71" providerId="ADAL" clId="{C75E0395-5B73-4BB2-A042-E36D82C929D1}" dt="2022-03-04T22:36:12.188" v="236" actId="166"/>
          <ac:spMkLst>
            <pc:docMk/>
            <pc:sldMk cId="4096158020" sldId="262"/>
            <ac:spMk id="134" creationId="{7F59A3B4-A739-4130-AC1F-A7995117010F}"/>
          </ac:spMkLst>
        </pc:spChg>
        <pc:spChg chg="mod">
          <ac:chgData name="Surya Sathiyamurthy" userId="c54ee02c-8e9a-4b7d-aab4-004599faea71" providerId="ADAL" clId="{C75E0395-5B73-4BB2-A042-E36D82C929D1}" dt="2022-03-04T22:35:52.158" v="234" actId="255"/>
          <ac:spMkLst>
            <pc:docMk/>
            <pc:sldMk cId="4096158020" sldId="262"/>
            <ac:spMk id="141" creationId="{857633A7-196C-40E7-8186-47587C09BDFC}"/>
          </ac:spMkLst>
        </pc:spChg>
        <pc:spChg chg="mod">
          <ac:chgData name="Surya Sathiyamurthy" userId="c54ee02c-8e9a-4b7d-aab4-004599faea71" providerId="ADAL" clId="{C75E0395-5B73-4BB2-A042-E36D82C929D1}" dt="2022-03-04T22:35:52.158" v="234" actId="255"/>
          <ac:spMkLst>
            <pc:docMk/>
            <pc:sldMk cId="4096158020" sldId="262"/>
            <ac:spMk id="142" creationId="{5547C3F3-2E3C-4A24-921E-12864685E4D0}"/>
          </ac:spMkLst>
        </pc:spChg>
        <pc:spChg chg="mod">
          <ac:chgData name="Surya Sathiyamurthy" userId="c54ee02c-8e9a-4b7d-aab4-004599faea71" providerId="ADAL" clId="{C75E0395-5B73-4BB2-A042-E36D82C929D1}" dt="2022-03-04T22:35:52.158" v="234" actId="255"/>
          <ac:spMkLst>
            <pc:docMk/>
            <pc:sldMk cId="4096158020" sldId="262"/>
            <ac:spMk id="143" creationId="{CE11662F-D3DF-4A4D-9E01-251B3F164D59}"/>
          </ac:spMkLst>
        </pc:spChg>
        <pc:spChg chg="mod">
          <ac:chgData name="Surya Sathiyamurthy" userId="c54ee02c-8e9a-4b7d-aab4-004599faea71" providerId="ADAL" clId="{C75E0395-5B73-4BB2-A042-E36D82C929D1}" dt="2022-03-04T22:35:52.158" v="234" actId="255"/>
          <ac:spMkLst>
            <pc:docMk/>
            <pc:sldMk cId="4096158020" sldId="262"/>
            <ac:spMk id="156" creationId="{9ED46A77-2A83-473F-8F75-3CB3F79FE994}"/>
          </ac:spMkLst>
        </pc:spChg>
        <pc:spChg chg="mod">
          <ac:chgData name="Surya Sathiyamurthy" userId="c54ee02c-8e9a-4b7d-aab4-004599faea71" providerId="ADAL" clId="{C75E0395-5B73-4BB2-A042-E36D82C929D1}" dt="2022-03-04T22:35:52.158" v="234" actId="255"/>
          <ac:spMkLst>
            <pc:docMk/>
            <pc:sldMk cId="4096158020" sldId="262"/>
            <ac:spMk id="157" creationId="{0023CEBB-B79A-4041-AB99-865789BDB980}"/>
          </ac:spMkLst>
        </pc:spChg>
        <pc:spChg chg="mod">
          <ac:chgData name="Surya Sathiyamurthy" userId="c54ee02c-8e9a-4b7d-aab4-004599faea71" providerId="ADAL" clId="{C75E0395-5B73-4BB2-A042-E36D82C929D1}" dt="2022-03-04T22:35:52.158" v="234" actId="255"/>
          <ac:spMkLst>
            <pc:docMk/>
            <pc:sldMk cId="4096158020" sldId="262"/>
            <ac:spMk id="158" creationId="{68603CD9-F297-4C7E-8005-9602966CAFE2}"/>
          </ac:spMkLst>
        </pc:spChg>
        <pc:spChg chg="add mod">
          <ac:chgData name="Surya Sathiyamurthy" userId="c54ee02c-8e9a-4b7d-aab4-004599faea71" providerId="ADAL" clId="{C75E0395-5B73-4BB2-A042-E36D82C929D1}" dt="2022-03-04T22:48:32.253" v="705" actId="20577"/>
          <ac:spMkLst>
            <pc:docMk/>
            <pc:sldMk cId="4096158020" sldId="262"/>
            <ac:spMk id="160" creationId="{6BCE64E0-AA97-4D59-8FD3-0261E075D38D}"/>
          </ac:spMkLst>
        </pc:spChg>
        <pc:spChg chg="mod">
          <ac:chgData name="Surya Sathiyamurthy" userId="c54ee02c-8e9a-4b7d-aab4-004599faea71" providerId="ADAL" clId="{C75E0395-5B73-4BB2-A042-E36D82C929D1}" dt="2022-03-04T22:35:52.158" v="234" actId="255"/>
          <ac:spMkLst>
            <pc:docMk/>
            <pc:sldMk cId="4096158020" sldId="262"/>
            <ac:spMk id="168" creationId="{B2A85D74-0730-4016-85CE-3AD18E8FB15C}"/>
          </ac:spMkLst>
        </pc:spChg>
        <pc:spChg chg="mod">
          <ac:chgData name="Surya Sathiyamurthy" userId="c54ee02c-8e9a-4b7d-aab4-004599faea71" providerId="ADAL" clId="{C75E0395-5B73-4BB2-A042-E36D82C929D1}" dt="2022-03-04T22:35:52.158" v="234" actId="255"/>
          <ac:spMkLst>
            <pc:docMk/>
            <pc:sldMk cId="4096158020" sldId="262"/>
            <ac:spMk id="169" creationId="{6107CA75-7F32-4745-91C7-74DD08BDB444}"/>
          </ac:spMkLst>
        </pc:spChg>
        <pc:spChg chg="mod">
          <ac:chgData name="Surya Sathiyamurthy" userId="c54ee02c-8e9a-4b7d-aab4-004599faea71" providerId="ADAL" clId="{C75E0395-5B73-4BB2-A042-E36D82C929D1}" dt="2022-03-04T22:35:52.158" v="234" actId="255"/>
          <ac:spMkLst>
            <pc:docMk/>
            <pc:sldMk cId="4096158020" sldId="262"/>
            <ac:spMk id="179" creationId="{9E4BFC88-15DE-4CD0-9F9E-FB855122DBD2}"/>
          </ac:spMkLst>
        </pc:spChg>
        <pc:spChg chg="add mod">
          <ac:chgData name="Surya Sathiyamurthy" userId="c54ee02c-8e9a-4b7d-aab4-004599faea71" providerId="ADAL" clId="{C75E0395-5B73-4BB2-A042-E36D82C929D1}" dt="2022-03-04T22:53:38.704" v="1295" actId="20577"/>
          <ac:spMkLst>
            <pc:docMk/>
            <pc:sldMk cId="4096158020" sldId="262"/>
            <ac:spMk id="187" creationId="{BC175E01-2415-43E2-9F10-618D990324C0}"/>
          </ac:spMkLst>
        </pc:spChg>
        <pc:spChg chg="del">
          <ac:chgData name="Surya Sathiyamurthy" userId="c54ee02c-8e9a-4b7d-aab4-004599faea71" providerId="ADAL" clId="{C75E0395-5B73-4BB2-A042-E36D82C929D1}" dt="2022-03-04T22:47:31.034" v="672" actId="478"/>
          <ac:spMkLst>
            <pc:docMk/>
            <pc:sldMk cId="4096158020" sldId="262"/>
            <ac:spMk id="188" creationId="{51D34AD3-AF7E-4727-9FF3-ABB3288838EA}"/>
          </ac:spMkLst>
        </pc:spChg>
        <pc:spChg chg="mod">
          <ac:chgData name="Surya Sathiyamurthy" userId="c54ee02c-8e9a-4b7d-aab4-004599faea71" providerId="ADAL" clId="{C75E0395-5B73-4BB2-A042-E36D82C929D1}" dt="2022-03-04T22:44:37.949" v="671" actId="14100"/>
          <ac:spMkLst>
            <pc:docMk/>
            <pc:sldMk cId="4096158020" sldId="262"/>
            <ac:spMk id="189" creationId="{D11F92B2-6AC4-4709-BAA1-7FDB858CD181}"/>
          </ac:spMkLst>
        </pc:spChg>
        <pc:grpChg chg="add mod">
          <ac:chgData name="Surya Sathiyamurthy" userId="c54ee02c-8e9a-4b7d-aab4-004599faea71" providerId="ADAL" clId="{C75E0395-5B73-4BB2-A042-E36D82C929D1}" dt="2022-03-04T22:42:42.407" v="664" actId="1035"/>
          <ac:grpSpMkLst>
            <pc:docMk/>
            <pc:sldMk cId="4096158020" sldId="262"/>
            <ac:grpSpMk id="13" creationId="{FE935AEC-C7C1-4CE7-86F9-68E4D6ABF5AF}"/>
          </ac:grpSpMkLst>
        </pc:grpChg>
        <pc:grpChg chg="mod">
          <ac:chgData name="Surya Sathiyamurthy" userId="c54ee02c-8e9a-4b7d-aab4-004599faea71" providerId="ADAL" clId="{C75E0395-5B73-4BB2-A042-E36D82C929D1}" dt="2022-03-04T22:35:27.868" v="232" actId="1038"/>
          <ac:grpSpMkLst>
            <pc:docMk/>
            <pc:sldMk cId="4096158020" sldId="262"/>
            <ac:grpSpMk id="103" creationId="{0DFB4E1B-698E-4357-B670-67F2CEAF15C2}"/>
          </ac:grpSpMkLst>
        </pc:grpChg>
        <pc:graphicFrameChg chg="add mod modGraphic">
          <ac:chgData name="Surya Sathiyamurthy" userId="c54ee02c-8e9a-4b7d-aab4-004599faea71" providerId="ADAL" clId="{C75E0395-5B73-4BB2-A042-E36D82C929D1}" dt="2022-03-04T22:43:25.667" v="670"/>
          <ac:graphicFrameMkLst>
            <pc:docMk/>
            <pc:sldMk cId="4096158020" sldId="262"/>
            <ac:graphicFrameMk id="11" creationId="{10143042-D2B9-4053-A7F2-5571E82D4C38}"/>
          </ac:graphicFrameMkLst>
        </pc:graphicFrameChg>
        <pc:graphicFrameChg chg="del">
          <ac:chgData name="Surya Sathiyamurthy" userId="c54ee02c-8e9a-4b7d-aab4-004599faea71" providerId="ADAL" clId="{C75E0395-5B73-4BB2-A042-E36D82C929D1}" dt="2022-03-04T22:47:34.105" v="673" actId="478"/>
          <ac:graphicFrameMkLst>
            <pc:docMk/>
            <pc:sldMk cId="4096158020" sldId="262"/>
            <ac:graphicFrameMk id="54" creationId="{30C13AC4-D800-1340-A094-0E18B40AEFBC}"/>
          </ac:graphicFrameMkLst>
        </pc:graphicFrameChg>
        <pc:graphicFrameChg chg="del">
          <ac:chgData name="Surya Sathiyamurthy" userId="c54ee02c-8e9a-4b7d-aab4-004599faea71" providerId="ADAL" clId="{C75E0395-5B73-4BB2-A042-E36D82C929D1}" dt="2022-03-04T22:48:01.841" v="680" actId="478"/>
          <ac:graphicFrameMkLst>
            <pc:docMk/>
            <pc:sldMk cId="4096158020" sldId="262"/>
            <ac:graphicFrameMk id="58" creationId="{09487427-4407-344A-B3CE-F2C5E643204E}"/>
          </ac:graphicFrameMkLst>
        </pc:graphicFrameChg>
        <pc:graphicFrameChg chg="del">
          <ac:chgData name="Surya Sathiyamurthy" userId="c54ee02c-8e9a-4b7d-aab4-004599faea71" providerId="ADAL" clId="{C75E0395-5B73-4BB2-A042-E36D82C929D1}" dt="2022-03-04T22:48:55.153" v="721" actId="478"/>
          <ac:graphicFrameMkLst>
            <pc:docMk/>
            <pc:sldMk cId="4096158020" sldId="262"/>
            <ac:graphicFrameMk id="61" creationId="{1FD93204-1109-F644-8DED-E535C46F762D}"/>
          </ac:graphicFrameMkLst>
        </pc:graphicFrameChg>
        <pc:picChg chg="del mod ord">
          <ac:chgData name="Surya Sathiyamurthy" userId="c54ee02c-8e9a-4b7d-aab4-004599faea71" providerId="ADAL" clId="{C75E0395-5B73-4BB2-A042-E36D82C929D1}" dt="2022-03-04T22:42:12.745" v="558" actId="478"/>
          <ac:picMkLst>
            <pc:docMk/>
            <pc:sldMk cId="4096158020" sldId="262"/>
            <ac:picMk id="10" creationId="{11DEDD81-DBEE-4442-ABF6-CB37773C2E9D}"/>
          </ac:picMkLst>
        </pc:picChg>
        <pc:picChg chg="mod ord">
          <ac:chgData name="Surya Sathiyamurthy" userId="c54ee02c-8e9a-4b7d-aab4-004599faea71" providerId="ADAL" clId="{C75E0395-5B73-4BB2-A042-E36D82C929D1}" dt="2022-03-04T22:42:27.537" v="559" actId="164"/>
          <ac:picMkLst>
            <pc:docMk/>
            <pc:sldMk cId="4096158020" sldId="262"/>
            <ac:picMk id="12" creationId="{41735675-9679-4A08-B99B-F9A46CFD6C0B}"/>
          </ac:picMkLst>
        </pc:picChg>
        <pc:picChg chg="del">
          <ac:chgData name="Surya Sathiyamurthy" userId="c54ee02c-8e9a-4b7d-aab4-004599faea71" providerId="ADAL" clId="{C75E0395-5B73-4BB2-A042-E36D82C929D1}" dt="2022-03-04T22:47:34.105" v="673" actId="478"/>
          <ac:picMkLst>
            <pc:docMk/>
            <pc:sldMk cId="4096158020" sldId="262"/>
            <ac:picMk id="56" creationId="{7B64C943-6F49-4347-96D6-94304B23EFE8}"/>
          </ac:picMkLst>
        </pc:picChg>
        <pc:picChg chg="del">
          <ac:chgData name="Surya Sathiyamurthy" userId="c54ee02c-8e9a-4b7d-aab4-004599faea71" providerId="ADAL" clId="{C75E0395-5B73-4BB2-A042-E36D82C929D1}" dt="2022-03-04T22:48:02.209" v="681" actId="478"/>
          <ac:picMkLst>
            <pc:docMk/>
            <pc:sldMk cId="4096158020" sldId="262"/>
            <ac:picMk id="60" creationId="{D61D1F76-917B-1B4D-85D0-F69F5D9B9563}"/>
          </ac:picMkLst>
        </pc:picChg>
        <pc:picChg chg="del">
          <ac:chgData name="Surya Sathiyamurthy" userId="c54ee02c-8e9a-4b7d-aab4-004599faea71" providerId="ADAL" clId="{C75E0395-5B73-4BB2-A042-E36D82C929D1}" dt="2022-03-04T22:48:55.153" v="721" actId="478"/>
          <ac:picMkLst>
            <pc:docMk/>
            <pc:sldMk cId="4096158020" sldId="262"/>
            <ac:picMk id="63" creationId="{71584B8D-02BD-4E4A-9B38-F66D7E6AEF49}"/>
          </ac:picMkLst>
        </pc:picChg>
        <pc:picChg chg="mod ord">
          <ac:chgData name="Surya Sathiyamurthy" userId="c54ee02c-8e9a-4b7d-aab4-004599faea71" providerId="ADAL" clId="{C75E0395-5B73-4BB2-A042-E36D82C929D1}" dt="2022-03-04T22:42:27.537" v="559" actId="164"/>
          <ac:picMkLst>
            <pc:docMk/>
            <pc:sldMk cId="4096158020" sldId="262"/>
            <ac:picMk id="150" creationId="{82B316AA-067B-469E-BE39-D556B8E1A6E3}"/>
          </ac:picMkLst>
        </pc:picChg>
        <pc:picChg chg="mod ord">
          <ac:chgData name="Surya Sathiyamurthy" userId="c54ee02c-8e9a-4b7d-aab4-004599faea71" providerId="ADAL" clId="{C75E0395-5B73-4BB2-A042-E36D82C929D1}" dt="2022-03-04T22:42:27.537" v="559" actId="164"/>
          <ac:picMkLst>
            <pc:docMk/>
            <pc:sldMk cId="4096158020" sldId="262"/>
            <ac:picMk id="151" creationId="{D0B6D7B7-6C3D-44EF-8789-B6A68CC3A01C}"/>
          </ac:picMkLst>
        </pc:picChg>
        <pc:picChg chg="mod ord">
          <ac:chgData name="Surya Sathiyamurthy" userId="c54ee02c-8e9a-4b7d-aab4-004599faea71" providerId="ADAL" clId="{C75E0395-5B73-4BB2-A042-E36D82C929D1}" dt="2022-03-04T22:42:27.537" v="559" actId="164"/>
          <ac:picMkLst>
            <pc:docMk/>
            <pc:sldMk cId="4096158020" sldId="262"/>
            <ac:picMk id="159" creationId="{6892A07D-EC98-420D-9ABA-742B2C285ACA}"/>
          </ac:picMkLst>
        </pc:picChg>
        <pc:picChg chg="mod ord">
          <ac:chgData name="Surya Sathiyamurthy" userId="c54ee02c-8e9a-4b7d-aab4-004599faea71" providerId="ADAL" clId="{C75E0395-5B73-4BB2-A042-E36D82C929D1}" dt="2022-03-04T22:42:27.537" v="559" actId="164"/>
          <ac:picMkLst>
            <pc:docMk/>
            <pc:sldMk cId="4096158020" sldId="262"/>
            <ac:picMk id="161" creationId="{57E448D9-596F-4537-BC4B-7914D0890B15}"/>
          </ac:picMkLst>
        </pc:picChg>
        <pc:picChg chg="mod ord">
          <ac:chgData name="Surya Sathiyamurthy" userId="c54ee02c-8e9a-4b7d-aab4-004599faea71" providerId="ADAL" clId="{C75E0395-5B73-4BB2-A042-E36D82C929D1}" dt="2022-03-04T22:42:27.537" v="559" actId="164"/>
          <ac:picMkLst>
            <pc:docMk/>
            <pc:sldMk cId="4096158020" sldId="262"/>
            <ac:picMk id="167" creationId="{F29D4496-1343-4C50-BDB3-95FF7C0F32BE}"/>
          </ac:picMkLst>
        </pc:picChg>
        <pc:picChg chg="mod ord">
          <ac:chgData name="Surya Sathiyamurthy" userId="c54ee02c-8e9a-4b7d-aab4-004599faea71" providerId="ADAL" clId="{C75E0395-5B73-4BB2-A042-E36D82C929D1}" dt="2022-03-04T22:42:27.537" v="559" actId="164"/>
          <ac:picMkLst>
            <pc:docMk/>
            <pc:sldMk cId="4096158020" sldId="262"/>
            <ac:picMk id="170" creationId="{31152D44-571A-46DD-B488-5FDF062DDD1A}"/>
          </ac:picMkLst>
        </pc:picChg>
        <pc:picChg chg="mod ord">
          <ac:chgData name="Surya Sathiyamurthy" userId="c54ee02c-8e9a-4b7d-aab4-004599faea71" providerId="ADAL" clId="{C75E0395-5B73-4BB2-A042-E36D82C929D1}" dt="2022-03-04T22:42:27.537" v="559" actId="164"/>
          <ac:picMkLst>
            <pc:docMk/>
            <pc:sldMk cId="4096158020" sldId="262"/>
            <ac:picMk id="184" creationId="{D39F1883-6D07-4C46-92EA-01B6FC8A9E3B}"/>
          </ac:picMkLst>
        </pc:picChg>
        <pc:picChg chg="add mod">
          <ac:chgData name="Surya Sathiyamurthy" userId="c54ee02c-8e9a-4b7d-aab4-004599faea71" providerId="ADAL" clId="{C75E0395-5B73-4BB2-A042-E36D82C929D1}" dt="2022-03-04T22:49:17.867" v="735" actId="571"/>
          <ac:picMkLst>
            <pc:docMk/>
            <pc:sldMk cId="4096158020" sldId="262"/>
            <ac:picMk id="186" creationId="{83B4D1BE-F212-4CEF-9938-7646616BC717}"/>
          </ac:picMkLst>
        </pc:picChg>
        <pc:picChg chg="mod ord">
          <ac:chgData name="Surya Sathiyamurthy" userId="c54ee02c-8e9a-4b7d-aab4-004599faea71" providerId="ADAL" clId="{C75E0395-5B73-4BB2-A042-E36D82C929D1}" dt="2022-03-04T22:42:27.537" v="559" actId="164"/>
          <ac:picMkLst>
            <pc:docMk/>
            <pc:sldMk cId="4096158020" sldId="262"/>
            <ac:picMk id="190" creationId="{5DA10BD2-F08D-4B86-8CFE-374CA0CCEDEB}"/>
          </ac:picMkLst>
        </pc:picChg>
        <pc:picChg chg="mod ord">
          <ac:chgData name="Surya Sathiyamurthy" userId="c54ee02c-8e9a-4b7d-aab4-004599faea71" providerId="ADAL" clId="{C75E0395-5B73-4BB2-A042-E36D82C929D1}" dt="2022-03-04T22:42:27.537" v="559" actId="164"/>
          <ac:picMkLst>
            <pc:docMk/>
            <pc:sldMk cId="4096158020" sldId="262"/>
            <ac:picMk id="191" creationId="{F1C537FA-50B4-4F82-A962-B9E5E45A9A17}"/>
          </ac:picMkLst>
        </pc:picChg>
        <pc:picChg chg="mod ord">
          <ac:chgData name="Surya Sathiyamurthy" userId="c54ee02c-8e9a-4b7d-aab4-004599faea71" providerId="ADAL" clId="{C75E0395-5B73-4BB2-A042-E36D82C929D1}" dt="2022-03-04T22:42:27.537" v="559" actId="164"/>
          <ac:picMkLst>
            <pc:docMk/>
            <pc:sldMk cId="4096158020" sldId="262"/>
            <ac:picMk id="192" creationId="{7FF268B4-7823-46A5-9AEC-A58B4E4844DC}"/>
          </ac:picMkLst>
        </pc:picChg>
        <pc:picChg chg="add mod">
          <ac:chgData name="Surya Sathiyamurthy" userId="c54ee02c-8e9a-4b7d-aab4-004599faea71" providerId="ADAL" clId="{C75E0395-5B73-4BB2-A042-E36D82C929D1}" dt="2022-03-04T22:49:58.182" v="774" actId="1036"/>
          <ac:picMkLst>
            <pc:docMk/>
            <pc:sldMk cId="4096158020" sldId="262"/>
            <ac:picMk id="1026" creationId="{1329F9C1-9F83-4499-83E4-D9DD148E925F}"/>
          </ac:picMkLst>
        </pc:picChg>
        <pc:picChg chg="add mod">
          <ac:chgData name="Surya Sathiyamurthy" userId="c54ee02c-8e9a-4b7d-aab4-004599faea71" providerId="ADAL" clId="{C75E0395-5B73-4BB2-A042-E36D82C929D1}" dt="2022-03-04T22:49:58.182" v="774" actId="1036"/>
          <ac:picMkLst>
            <pc:docMk/>
            <pc:sldMk cId="4096158020" sldId="262"/>
            <ac:picMk id="1028" creationId="{DF5AA243-121E-4484-94AB-42030654229A}"/>
          </ac:picMkLst>
        </pc:picChg>
        <pc:cxnChg chg="mod">
          <ac:chgData name="Surya Sathiyamurthy" userId="c54ee02c-8e9a-4b7d-aab4-004599faea71" providerId="ADAL" clId="{C75E0395-5B73-4BB2-A042-E36D82C929D1}" dt="2022-03-04T22:35:27.868" v="232" actId="1038"/>
          <ac:cxnSpMkLst>
            <pc:docMk/>
            <pc:sldMk cId="4096158020" sldId="262"/>
            <ac:cxnSpMk id="106" creationId="{671F4C21-2D6A-4999-9015-86C6BCC36BB8}"/>
          </ac:cxnSpMkLst>
        </pc:cxnChg>
        <pc:cxnChg chg="mod">
          <ac:chgData name="Surya Sathiyamurthy" userId="c54ee02c-8e9a-4b7d-aab4-004599faea71" providerId="ADAL" clId="{C75E0395-5B73-4BB2-A042-E36D82C929D1}" dt="2022-03-04T22:35:27.868" v="232" actId="1038"/>
          <ac:cxnSpMkLst>
            <pc:docMk/>
            <pc:sldMk cId="4096158020" sldId="262"/>
            <ac:cxnSpMk id="107" creationId="{58CD57BE-2AF6-4EC2-B2AB-FECE1547A2C9}"/>
          </ac:cxnSpMkLst>
        </pc:cxnChg>
        <pc:cxnChg chg="mod">
          <ac:chgData name="Surya Sathiyamurthy" userId="c54ee02c-8e9a-4b7d-aab4-004599faea71" providerId="ADAL" clId="{C75E0395-5B73-4BB2-A042-E36D82C929D1}" dt="2022-03-04T22:35:27.868" v="232" actId="1038"/>
          <ac:cxnSpMkLst>
            <pc:docMk/>
            <pc:sldMk cId="4096158020" sldId="262"/>
            <ac:cxnSpMk id="108" creationId="{C4AB35C2-571F-4E7B-B72E-6C7948D23BCF}"/>
          </ac:cxnSpMkLst>
        </pc:cxnChg>
      </pc:sldChg>
    </pc:docChg>
  </pc:docChgLst>
  <pc:docChgLst>
    <pc:chgData name="Evan Robert Tiffany" userId="S::etiffany@purdue.edu::ea4c46ce-7a72-4b91-a17d-36b338b5a71d" providerId="AD" clId="Web-{3D488DFD-6BEA-450A-9E21-F7ACB41D954C}"/>
    <pc:docChg chg="modSld">
      <pc:chgData name="Evan Robert Tiffany" userId="S::etiffany@purdue.edu::ea4c46ce-7a72-4b91-a17d-36b338b5a71d" providerId="AD" clId="Web-{3D488DFD-6BEA-450A-9E21-F7ACB41D954C}" dt="2022-03-26T02:46:24.239" v="0"/>
      <pc:docMkLst>
        <pc:docMk/>
      </pc:docMkLst>
      <pc:sldChg chg="delSp">
        <pc:chgData name="Evan Robert Tiffany" userId="S::etiffany@purdue.edu::ea4c46ce-7a72-4b91-a17d-36b338b5a71d" providerId="AD" clId="Web-{3D488DFD-6BEA-450A-9E21-F7ACB41D954C}" dt="2022-03-26T02:46:24.239" v="0"/>
        <pc:sldMkLst>
          <pc:docMk/>
          <pc:sldMk cId="4096158020" sldId="262"/>
        </pc:sldMkLst>
        <pc:spChg chg="del">
          <ac:chgData name="Evan Robert Tiffany" userId="S::etiffany@purdue.edu::ea4c46ce-7a72-4b91-a17d-36b338b5a71d" providerId="AD" clId="Web-{3D488DFD-6BEA-450A-9E21-F7ACB41D954C}" dt="2022-03-26T02:46:24.239" v="0"/>
          <ac:spMkLst>
            <pc:docMk/>
            <pc:sldMk cId="4096158020" sldId="262"/>
            <ac:spMk id="220" creationId="{1309314C-CB16-46BA-AD5B-6A8F1AE5BDE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1/9/2023</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1/9/2023</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image" Target="../media/image3.png"/><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image" Target="../media/image2.jpeg"/><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emf"/><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DEF65FC7-BAC5-324C-AFB9-A79367124296}"/>
              </a:ext>
            </a:extLst>
          </p:cNvPr>
          <p:cNvSpPr/>
          <p:nvPr/>
        </p:nvSpPr>
        <p:spPr bwMode="auto">
          <a:xfrm>
            <a:off x="-373286" y="-130628"/>
            <a:ext cx="22237509" cy="220762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pic>
        <p:nvPicPr>
          <p:cNvPr id="104" name="Picture 103">
            <a:extLst>
              <a:ext uri="{FF2B5EF4-FFF2-40B4-BE49-F238E27FC236}">
                <a16:creationId xmlns:a16="http://schemas.microsoft.com/office/drawing/2014/main" id="{B830B4C9-47F5-B542-B4CD-E34A79CE717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172196" y="14479"/>
            <a:ext cx="21719004" cy="3690332"/>
          </a:xfrm>
          <a:prstGeom prst="rect">
            <a:avLst/>
          </a:prstGeom>
        </p:spPr>
      </p:pic>
      <p:pic>
        <p:nvPicPr>
          <p:cNvPr id="2" name="Picture 1">
            <a:extLst>
              <a:ext uri="{FF2B5EF4-FFF2-40B4-BE49-F238E27FC236}">
                <a16:creationId xmlns:a16="http://schemas.microsoft.com/office/drawing/2014/main" id="{2190725C-E5F5-DC42-97EE-8DC114C1437D}"/>
              </a:ext>
            </a:extLst>
          </p:cNvPr>
          <p:cNvPicPr>
            <a:picLocks noChangeAspect="1"/>
          </p:cNvPicPr>
          <p:nvPr/>
        </p:nvPicPr>
        <p:blipFill>
          <a:blip r:embed="rId3"/>
          <a:stretch>
            <a:fillRect/>
          </a:stretch>
        </p:blipFill>
        <p:spPr>
          <a:xfrm>
            <a:off x="40069619" y="18081602"/>
            <a:ext cx="3266574" cy="3146479"/>
          </a:xfrm>
          <a:prstGeom prst="rect">
            <a:avLst/>
          </a:prstGeom>
        </p:spPr>
      </p:pic>
      <p:sp>
        <p:nvSpPr>
          <p:cNvPr id="4" name="Text Box 126">
            <a:extLst>
              <a:ext uri="{FF2B5EF4-FFF2-40B4-BE49-F238E27FC236}">
                <a16:creationId xmlns:a16="http://schemas.microsoft.com/office/drawing/2014/main" id="{7F1D5313-A7CD-224A-9618-4E3F37D541A4}"/>
              </a:ext>
            </a:extLst>
          </p:cNvPr>
          <p:cNvSpPr txBox="1">
            <a:spLocks noChangeArrowheads="1"/>
          </p:cNvSpPr>
          <p:nvPr/>
        </p:nvSpPr>
        <p:spPr bwMode="auto">
          <a:xfrm>
            <a:off x="1379284" y="1014221"/>
            <a:ext cx="202769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3600" b="1">
                <a:latin typeface="Calibri" panose="020F0502020204030204" pitchFamily="34" charset="0"/>
                <a:cs typeface="Calibri" panose="020F0502020204030204" pitchFamily="34" charset="0"/>
              </a:rPr>
              <a:t>Mitigating Hotel Revenue Management System Risk Using Anomaly Detection in Short Booking Windows</a:t>
            </a:r>
          </a:p>
        </p:txBody>
      </p:sp>
      <p:sp>
        <p:nvSpPr>
          <p:cNvPr id="5" name="TextBox 4">
            <a:extLst>
              <a:ext uri="{FF2B5EF4-FFF2-40B4-BE49-F238E27FC236}">
                <a16:creationId xmlns:a16="http://schemas.microsoft.com/office/drawing/2014/main" id="{6B44E15B-AD84-E248-8486-A835618F9585}"/>
              </a:ext>
            </a:extLst>
          </p:cNvPr>
          <p:cNvSpPr txBox="1"/>
          <p:nvPr/>
        </p:nvSpPr>
        <p:spPr>
          <a:xfrm>
            <a:off x="1398342" y="2279056"/>
            <a:ext cx="7257385" cy="2062103"/>
          </a:xfrm>
          <a:prstGeom prst="rect">
            <a:avLst/>
          </a:prstGeom>
          <a:noFill/>
        </p:spPr>
        <p:txBody>
          <a:bodyPr wrap="square">
            <a:spAutoFit/>
          </a:bodyPr>
          <a:lstStyle/>
          <a:p>
            <a:pPr>
              <a:spcBef>
                <a:spcPct val="20000"/>
              </a:spcBef>
            </a:pPr>
            <a:r>
              <a:rPr lang="en-IN" sz="2000" b="1" err="1">
                <a:latin typeface="Calibri" panose="020F0502020204030204" pitchFamily="34" charset="0"/>
                <a:cs typeface="Calibri" panose="020F0502020204030204" pitchFamily="34" charset="0"/>
              </a:rPr>
              <a:t>Pranoy</a:t>
            </a:r>
            <a:r>
              <a:rPr lang="en-IN" sz="2000" b="1">
                <a:latin typeface="Calibri" panose="020F0502020204030204" pitchFamily="34" charset="0"/>
                <a:cs typeface="Calibri" panose="020F0502020204030204" pitchFamily="34" charset="0"/>
              </a:rPr>
              <a:t> Bhattacharya, </a:t>
            </a:r>
            <a:r>
              <a:rPr lang="en-IN" sz="2000" b="1" err="1">
                <a:latin typeface="Calibri" panose="020F0502020204030204" pitchFamily="34" charset="0"/>
                <a:cs typeface="Calibri" panose="020F0502020204030204" pitchFamily="34" charset="0"/>
              </a:rPr>
              <a:t>Pratyusha</a:t>
            </a:r>
            <a:r>
              <a:rPr lang="en-IN" sz="2000" b="1">
                <a:latin typeface="Calibri" panose="020F0502020204030204" pitchFamily="34" charset="0"/>
                <a:cs typeface="Calibri" panose="020F0502020204030204" pitchFamily="34" charset="0"/>
              </a:rPr>
              <a:t> </a:t>
            </a:r>
            <a:r>
              <a:rPr lang="en-IN" sz="2000" b="1" err="1">
                <a:latin typeface="Calibri" panose="020F0502020204030204" pitchFamily="34" charset="0"/>
                <a:cs typeface="Calibri" panose="020F0502020204030204" pitchFamily="34" charset="0"/>
              </a:rPr>
              <a:t>Gajavalli</a:t>
            </a:r>
            <a:r>
              <a:rPr lang="en-IN" sz="2000" b="1">
                <a:latin typeface="Calibri" panose="020F0502020204030204" pitchFamily="34" charset="0"/>
                <a:cs typeface="Calibri" panose="020F0502020204030204" pitchFamily="34" charset="0"/>
              </a:rPr>
              <a:t>, Surya Sathiyamurthy, Rishabh Sharma, Evan Tiffany, Matthew A. Lanham</a:t>
            </a:r>
          </a:p>
          <a:p>
            <a:pPr>
              <a:spcBef>
                <a:spcPct val="20000"/>
              </a:spcBef>
            </a:pPr>
            <a:r>
              <a:rPr lang="en-IN" sz="2000">
                <a:latin typeface="Calibri" panose="020F0502020204030204" pitchFamily="34" charset="0"/>
                <a:cs typeface="Calibri" panose="020F0502020204030204" pitchFamily="34" charset="0"/>
              </a:rPr>
              <a:t>Purdue University, Krannert School of Management</a:t>
            </a:r>
          </a:p>
          <a:p>
            <a:pPr>
              <a:spcBef>
                <a:spcPct val="20000"/>
              </a:spcBef>
            </a:pPr>
            <a:r>
              <a:rPr lang="en-IN" altLang="en-US" sz="2000">
                <a:latin typeface="Calibri" panose="020F0502020204030204" pitchFamily="34" charset="0"/>
                <a:cs typeface="Calibri" panose="020F0502020204030204" pitchFamily="34" charset="0"/>
              </a:rPr>
              <a:t>bhatta56@purdue.edu; pgajaval@purdue.edu;  sharm451@purdue.edu; ssathiya@purdue.edu; etiffany@purdue.edu; lanhamm@purdue.edu</a:t>
            </a:r>
            <a:endParaRPr lang="en-GB" altLang="en-US" sz="2000">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C04C1467-AA9F-AC44-A9EA-C8027648523B}"/>
              </a:ext>
            </a:extLst>
          </p:cNvPr>
          <p:cNvSpPr/>
          <p:nvPr/>
        </p:nvSpPr>
        <p:spPr>
          <a:xfrm>
            <a:off x="1313281" y="4728753"/>
            <a:ext cx="2231486" cy="523220"/>
          </a:xfrm>
          <a:prstGeom prst="rect">
            <a:avLst/>
          </a:prstGeom>
        </p:spPr>
        <p:txBody>
          <a:bodyPr wrap="square">
            <a:spAutoFit/>
          </a:bodyPr>
          <a:lstStyle/>
          <a:p>
            <a:r>
              <a:rPr lang="en-US" altLang="en-US" sz="2800" b="1">
                <a:latin typeface="Calibri" panose="020F0502020204030204" pitchFamily="34" charset="0"/>
                <a:cs typeface="Calibri" panose="020F0502020204030204" pitchFamily="34" charset="0"/>
              </a:rPr>
              <a:t>ABSTRACT</a:t>
            </a:r>
            <a:endParaRPr lang="en-US" sz="2800" b="1">
              <a:latin typeface="Calibri" panose="020F0502020204030204" pitchFamily="34" charset="0"/>
              <a:cs typeface="Calibri" panose="020F0502020204030204" pitchFamily="34" charset="0"/>
            </a:endParaRPr>
          </a:p>
        </p:txBody>
      </p:sp>
      <p:sp>
        <p:nvSpPr>
          <p:cNvPr id="7" name="Rectangle 106">
            <a:extLst>
              <a:ext uri="{FF2B5EF4-FFF2-40B4-BE49-F238E27FC236}">
                <a16:creationId xmlns:a16="http://schemas.microsoft.com/office/drawing/2014/main" id="{43255538-6601-CD43-90F8-F249661FBACA}"/>
              </a:ext>
            </a:extLst>
          </p:cNvPr>
          <p:cNvSpPr>
            <a:spLocks noChangeArrowheads="1"/>
          </p:cNvSpPr>
          <p:nvPr/>
        </p:nvSpPr>
        <p:spPr bwMode="auto">
          <a:xfrm>
            <a:off x="1398342" y="5133574"/>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Calibri" panose="020F0502020204030204" pitchFamily="34" charset="0"/>
                <a:cs typeface="Calibri" panose="020F0502020204030204" pitchFamily="34" charset="0"/>
              </a:rPr>
              <a:t>Investigating anomaly detection for improved pricing decisions for economy hotels within 48 hours. In order to satisfy demand at a price and achieve the greatest revenue, PCA, clustering, and rule-based models are used to detect anomalies in the 48-hour window using historical data and an alert system was built on top of it. These alerts were categorized to high, medium, or low alerts and sent to revenue managers, helping them adjust prices and resources accordingly and mitigate risk.</a:t>
            </a:r>
          </a:p>
        </p:txBody>
      </p:sp>
      <p:sp>
        <p:nvSpPr>
          <p:cNvPr id="8" name="Rectangle 7">
            <a:extLst>
              <a:ext uri="{FF2B5EF4-FFF2-40B4-BE49-F238E27FC236}">
                <a16:creationId xmlns:a16="http://schemas.microsoft.com/office/drawing/2014/main" id="{4EC5C8DC-2943-674D-AC0B-5A223EFB9DFE}"/>
              </a:ext>
            </a:extLst>
          </p:cNvPr>
          <p:cNvSpPr/>
          <p:nvPr/>
        </p:nvSpPr>
        <p:spPr>
          <a:xfrm>
            <a:off x="1313281" y="7835634"/>
            <a:ext cx="3480990"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INTRODUCTION</a:t>
            </a:r>
          </a:p>
        </p:txBody>
      </p:sp>
      <p:sp>
        <p:nvSpPr>
          <p:cNvPr id="9" name="Rectangle 106">
            <a:extLst>
              <a:ext uri="{FF2B5EF4-FFF2-40B4-BE49-F238E27FC236}">
                <a16:creationId xmlns:a16="http://schemas.microsoft.com/office/drawing/2014/main" id="{6F2E9070-9489-5448-8F2E-39BDAC89CC91}"/>
              </a:ext>
            </a:extLst>
          </p:cNvPr>
          <p:cNvSpPr>
            <a:spLocks noChangeArrowheads="1"/>
          </p:cNvSpPr>
          <p:nvPr/>
        </p:nvSpPr>
        <p:spPr bwMode="auto">
          <a:xfrm>
            <a:off x="1398342" y="8187010"/>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Calibri" panose="020F0502020204030204" pitchFamily="34" charset="0"/>
                <a:cs typeface="Calibri" panose="020F0502020204030204" pitchFamily="34" charset="0"/>
              </a:rPr>
              <a:t>Economy hotel chains experience high demand variability within 48 hours of each booking date. These demands do not have high visibility, affect the price, and make these hotels less competitive. The addition of anomaly detection help monitor demand in real-time and optimize revenue. Finding the right model to detect the anomaly and alerting the hotel operators to optimize their prices can increase the potential for hotels to maximize their revenue.</a:t>
            </a:r>
          </a:p>
          <a:p>
            <a:pPr algn="just"/>
            <a:endParaRPr lang="en-US" b="1" spc="10">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DF12BBF8-995C-7F45-94BB-D99EE48ED1AB}"/>
              </a:ext>
            </a:extLst>
          </p:cNvPr>
          <p:cNvSpPr/>
          <p:nvPr/>
        </p:nvSpPr>
        <p:spPr>
          <a:xfrm>
            <a:off x="1313281" y="16327201"/>
            <a:ext cx="5401800" cy="523220"/>
          </a:xfrm>
          <a:prstGeom prst="rect">
            <a:avLst/>
          </a:prstGeom>
        </p:spPr>
        <p:txBody>
          <a:bodyPr wrap="square">
            <a:spAutoFit/>
          </a:bodyPr>
          <a:lstStyle/>
          <a:p>
            <a:r>
              <a:rPr lang="en-US" altLang="en-US" sz="2800" b="1">
                <a:latin typeface="Calibri" panose="020F0502020204030204" pitchFamily="34" charset="0"/>
                <a:cs typeface="Calibri" panose="020F0502020204030204" pitchFamily="34" charset="0"/>
              </a:rPr>
              <a:t>RESEARCH OBJECTIVES</a:t>
            </a:r>
            <a:endParaRPr lang="en-US" sz="2800" b="1">
              <a:latin typeface="Calibri" panose="020F050202020403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D92DB5B5-5EB2-844F-8102-BFDAA8558319}"/>
              </a:ext>
            </a:extLst>
          </p:cNvPr>
          <p:cNvSpPr txBox="1"/>
          <p:nvPr/>
        </p:nvSpPr>
        <p:spPr>
          <a:xfrm>
            <a:off x="1212928" y="17073916"/>
            <a:ext cx="8045792" cy="1715021"/>
          </a:xfrm>
          <a:prstGeom prst="rect">
            <a:avLst/>
          </a:prstGeom>
          <a:noFill/>
        </p:spPr>
        <p:txBody>
          <a:bodyPr wrap="square" rtlCol="0">
            <a:spAutoFit/>
          </a:bodyPr>
          <a:lstStyle/>
          <a:p>
            <a:pPr marL="342892" indent="-342892">
              <a:lnSpc>
                <a:spcPct val="107000"/>
              </a:lnSpc>
              <a:spcBef>
                <a:spcPts val="0"/>
              </a:spcBef>
              <a:spcAft>
                <a:spcPts val="0"/>
              </a:spcAft>
              <a:buFont typeface="Arial" panose="020B0604020202020204" pitchFamily="34" charset="0"/>
              <a:buChar char="•"/>
            </a:pPr>
            <a:r>
              <a:rPr lang="en-US" sz="2000">
                <a:latin typeface="Calibri" panose="020F0502020204030204" pitchFamily="34" charset="0"/>
                <a:cs typeface="Calibri" panose="020F0502020204030204" pitchFamily="34" charset="0"/>
              </a:rPr>
              <a:t>What methodology provides a robust demand forecasting model to form the best baseline?</a:t>
            </a:r>
          </a:p>
          <a:p>
            <a:pPr marL="342892" indent="-342892">
              <a:lnSpc>
                <a:spcPct val="107000"/>
              </a:lnSpc>
              <a:spcBef>
                <a:spcPts val="0"/>
              </a:spcBef>
              <a:spcAft>
                <a:spcPts val="0"/>
              </a:spcAft>
              <a:buFont typeface="Arial" panose="020B0604020202020204" pitchFamily="34" charset="0"/>
              <a:buChar char="•"/>
            </a:pPr>
            <a:r>
              <a:rPr lang="en-US" sz="2000">
                <a:latin typeface="Calibri" panose="020F0502020204030204" pitchFamily="34" charset="0"/>
                <a:cs typeface="Calibri" panose="020F0502020204030204" pitchFamily="34" charset="0"/>
              </a:rPr>
              <a:t>How can we best detect demand anomalies?</a:t>
            </a:r>
          </a:p>
          <a:p>
            <a:pPr marL="342892" indent="-342892">
              <a:lnSpc>
                <a:spcPct val="107000"/>
              </a:lnSpc>
              <a:spcBef>
                <a:spcPts val="0"/>
              </a:spcBef>
              <a:spcAft>
                <a:spcPts val="0"/>
              </a:spcAft>
              <a:buFont typeface="Arial" panose="020B0604020202020204" pitchFamily="34" charset="0"/>
              <a:buChar char="•"/>
            </a:pPr>
            <a:r>
              <a:rPr lang="en-US" sz="2000">
                <a:latin typeface="Calibri" panose="020F0502020204030204" pitchFamily="34" charset="0"/>
                <a:cs typeface="Calibri" panose="020F0502020204030204" pitchFamily="34" charset="0"/>
              </a:rPr>
              <a:t>What is the optimal margin to utilize in order to neither over detect nor under detect anomalies? </a:t>
            </a:r>
          </a:p>
        </p:txBody>
      </p:sp>
      <p:sp>
        <p:nvSpPr>
          <p:cNvPr id="43" name="Rectangle 42">
            <a:extLst>
              <a:ext uri="{FF2B5EF4-FFF2-40B4-BE49-F238E27FC236}">
                <a16:creationId xmlns:a16="http://schemas.microsoft.com/office/drawing/2014/main" id="{803D5AFD-8A7F-964B-90CF-A176ECDB2337}"/>
              </a:ext>
            </a:extLst>
          </p:cNvPr>
          <p:cNvSpPr/>
          <p:nvPr/>
        </p:nvSpPr>
        <p:spPr>
          <a:xfrm>
            <a:off x="10525530" y="15206105"/>
            <a:ext cx="4789126"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MODEL REVIEW</a:t>
            </a:r>
          </a:p>
        </p:txBody>
      </p:sp>
      <p:sp>
        <p:nvSpPr>
          <p:cNvPr id="44" name="Rectangle 106">
            <a:extLst>
              <a:ext uri="{FF2B5EF4-FFF2-40B4-BE49-F238E27FC236}">
                <a16:creationId xmlns:a16="http://schemas.microsoft.com/office/drawing/2014/main" id="{EE4CC1A1-8CAB-8B42-8965-ECE0927D951E}"/>
              </a:ext>
            </a:extLst>
          </p:cNvPr>
          <p:cNvSpPr>
            <a:spLocks noChangeArrowheads="1"/>
          </p:cNvSpPr>
          <p:nvPr/>
        </p:nvSpPr>
        <p:spPr bwMode="auto">
          <a:xfrm>
            <a:off x="10724615" y="15689701"/>
            <a:ext cx="10234026" cy="19050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Calibri" panose="020F0502020204030204" pitchFamily="34" charset="0"/>
                <a:cs typeface="Calibri" panose="020F0502020204030204" pitchFamily="34" charset="0"/>
              </a:rPr>
              <a:t>Approaching the development of our model, a variety of algorithms was utilized to test the accuracy with the data provided, selecting the models that provided the best performance to continue. As the data was unlabeled, we focused primarily on unsupervised models. Overall, 12 models were tested on a set of three hotels. The top three model types, PCA, Clustering and Standard Deviation, were further implemented on the set of 11 hotels. </a:t>
            </a:r>
          </a:p>
        </p:txBody>
      </p:sp>
      <p:sp>
        <p:nvSpPr>
          <p:cNvPr id="46" name="Rectangle 45">
            <a:extLst>
              <a:ext uri="{FF2B5EF4-FFF2-40B4-BE49-F238E27FC236}">
                <a16:creationId xmlns:a16="http://schemas.microsoft.com/office/drawing/2014/main" id="{629E306B-603B-694A-A8E1-71F5BED27672}"/>
              </a:ext>
            </a:extLst>
          </p:cNvPr>
          <p:cNvSpPr/>
          <p:nvPr/>
        </p:nvSpPr>
        <p:spPr>
          <a:xfrm>
            <a:off x="10555864" y="2900158"/>
            <a:ext cx="4789126"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METHODOLOGY</a:t>
            </a:r>
          </a:p>
        </p:txBody>
      </p:sp>
      <p:cxnSp>
        <p:nvCxnSpPr>
          <p:cNvPr id="48" name="Straight Connector 47">
            <a:extLst>
              <a:ext uri="{FF2B5EF4-FFF2-40B4-BE49-F238E27FC236}">
                <a16:creationId xmlns:a16="http://schemas.microsoft.com/office/drawing/2014/main" id="{94EFE378-7A38-2E49-951A-7DF60DCA1EA9}"/>
              </a:ext>
            </a:extLst>
          </p:cNvPr>
          <p:cNvCxnSpPr/>
          <p:nvPr/>
        </p:nvCxnSpPr>
        <p:spPr bwMode="auto">
          <a:xfrm flipV="1">
            <a:off x="10087630" y="3365850"/>
            <a:ext cx="24857" cy="1799192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a:extLst>
              <a:ext uri="{FF2B5EF4-FFF2-40B4-BE49-F238E27FC236}">
                <a16:creationId xmlns:a16="http://schemas.microsoft.com/office/drawing/2014/main" id="{CE48337D-A4A4-4645-825B-A2F0BF8BF3C1}"/>
              </a:ext>
            </a:extLst>
          </p:cNvPr>
          <p:cNvCxnSpPr/>
          <p:nvPr/>
        </p:nvCxnSpPr>
        <p:spPr bwMode="auto">
          <a:xfrm flipV="1">
            <a:off x="33142709" y="3365850"/>
            <a:ext cx="33941" cy="17053622"/>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1" name="Picture 50">
            <a:extLst>
              <a:ext uri="{FF2B5EF4-FFF2-40B4-BE49-F238E27FC236}">
                <a16:creationId xmlns:a16="http://schemas.microsoft.com/office/drawing/2014/main" id="{6F8665B3-8922-DA44-9313-A18C5B5C43F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19019" y="20074018"/>
            <a:ext cx="8758933" cy="950383"/>
          </a:xfrm>
          <a:prstGeom prst="rect">
            <a:avLst/>
          </a:prstGeom>
        </p:spPr>
      </p:pic>
      <p:sp>
        <p:nvSpPr>
          <p:cNvPr id="52" name="Rectangle 51">
            <a:extLst>
              <a:ext uri="{FF2B5EF4-FFF2-40B4-BE49-F238E27FC236}">
                <a16:creationId xmlns:a16="http://schemas.microsoft.com/office/drawing/2014/main" id="{79C5E6D3-92DC-4B40-A3DC-9A41FDE74F45}"/>
              </a:ext>
            </a:extLst>
          </p:cNvPr>
          <p:cNvSpPr/>
          <p:nvPr/>
        </p:nvSpPr>
        <p:spPr>
          <a:xfrm>
            <a:off x="22542162" y="3743064"/>
            <a:ext cx="9503538"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ANOMALY DETECTION &amp; ALERT SYSTEM</a:t>
            </a:r>
          </a:p>
        </p:txBody>
      </p:sp>
      <p:sp>
        <p:nvSpPr>
          <p:cNvPr id="53" name="TextBox 19">
            <a:extLst>
              <a:ext uri="{FF2B5EF4-FFF2-40B4-BE49-F238E27FC236}">
                <a16:creationId xmlns:a16="http://schemas.microsoft.com/office/drawing/2014/main" id="{F6B55F38-EF67-C748-A73D-5B4492FA143A}"/>
              </a:ext>
            </a:extLst>
          </p:cNvPr>
          <p:cNvSpPr txBox="1"/>
          <p:nvPr/>
        </p:nvSpPr>
        <p:spPr>
          <a:xfrm>
            <a:off x="22672790" y="4442515"/>
            <a:ext cx="9944690" cy="1938992"/>
          </a:xfrm>
          <a:prstGeom prst="rect">
            <a:avLst/>
          </a:prstGeom>
          <a:noFill/>
        </p:spPr>
        <p:txBody>
          <a:bodyPr wrap="square" rtlCol="0" anchor="t">
            <a:spAutoFit/>
          </a:bodyPr>
          <a:lstStyle/>
          <a:p>
            <a:pPr algn="just"/>
            <a:r>
              <a:rPr lang="en-US" altLang="en-US" sz="2000" spc="10">
                <a:latin typeface="Calibri" panose="020F0502020204030204" pitchFamily="34" charset="0"/>
                <a:cs typeface="Calibri" panose="020F0502020204030204" pitchFamily="34" charset="0"/>
              </a:rPr>
              <a:t>Among the many models used for anomaly detection for booking in the last 48-hour window, there were many underperforming models like isolation forest, clustering models, etc. The best performing models were PCA, Clustering-based detection, and standard deviation. From figure 3, the combined model was able to detect both low and high demand anomalies whereas PCA only (Figure 4) was able to identify only the high demand anomalies. Local anomalies were also discovered in the combined model. </a:t>
            </a:r>
          </a:p>
        </p:txBody>
      </p:sp>
      <p:sp>
        <p:nvSpPr>
          <p:cNvPr id="57" name="Rectangle 56">
            <a:extLst>
              <a:ext uri="{FF2B5EF4-FFF2-40B4-BE49-F238E27FC236}">
                <a16:creationId xmlns:a16="http://schemas.microsoft.com/office/drawing/2014/main" id="{E4A64FCA-BC03-B144-ABA4-9479987E99E4}"/>
              </a:ext>
            </a:extLst>
          </p:cNvPr>
          <p:cNvSpPr/>
          <p:nvPr/>
        </p:nvSpPr>
        <p:spPr>
          <a:xfrm>
            <a:off x="24813581" y="11684205"/>
            <a:ext cx="5960163" cy="400110"/>
          </a:xfrm>
          <a:prstGeom prst="rect">
            <a:avLst/>
          </a:prstGeom>
        </p:spPr>
        <p:txBody>
          <a:bodyPr wrap="square">
            <a:spAutoFit/>
          </a:bodyPr>
          <a:lstStyle/>
          <a:p>
            <a:pPr algn="ctr"/>
            <a:r>
              <a:rPr lang="en-US" sz="2000">
                <a:latin typeface="Calibri" panose="020F0502020204030204" pitchFamily="34" charset="0"/>
                <a:ea typeface="Arial" charset="0"/>
                <a:cs typeface="Calibri" panose="020F0502020204030204" pitchFamily="34" charset="0"/>
              </a:rPr>
              <a:t>Fig 2. Model Summary for different property types</a:t>
            </a:r>
          </a:p>
        </p:txBody>
      </p:sp>
      <p:sp>
        <p:nvSpPr>
          <p:cNvPr id="67" name="Rectangle 66">
            <a:extLst>
              <a:ext uri="{FF2B5EF4-FFF2-40B4-BE49-F238E27FC236}">
                <a16:creationId xmlns:a16="http://schemas.microsoft.com/office/drawing/2014/main" id="{39B11AD9-C5E0-A543-A6A1-77B664E53688}"/>
              </a:ext>
            </a:extLst>
          </p:cNvPr>
          <p:cNvSpPr/>
          <p:nvPr/>
        </p:nvSpPr>
        <p:spPr>
          <a:xfrm>
            <a:off x="33751957" y="3743064"/>
            <a:ext cx="4213035"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EXPECTED IMPACT</a:t>
            </a:r>
          </a:p>
        </p:txBody>
      </p:sp>
      <p:sp>
        <p:nvSpPr>
          <p:cNvPr id="68" name="Rectangle 106">
            <a:extLst>
              <a:ext uri="{FF2B5EF4-FFF2-40B4-BE49-F238E27FC236}">
                <a16:creationId xmlns:a16="http://schemas.microsoft.com/office/drawing/2014/main" id="{FD400E24-C324-3D44-852E-DF3DC7A509B6}"/>
              </a:ext>
            </a:extLst>
          </p:cNvPr>
          <p:cNvSpPr>
            <a:spLocks noChangeArrowheads="1"/>
          </p:cNvSpPr>
          <p:nvPr/>
        </p:nvSpPr>
        <p:spPr bwMode="auto">
          <a:xfrm>
            <a:off x="33837019" y="4262761"/>
            <a:ext cx="9360970"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2000" spc="10">
                <a:latin typeface="Calibri" panose="020F0502020204030204" pitchFamily="34" charset="0"/>
                <a:cs typeface="Calibri" panose="020F0502020204030204" pitchFamily="34" charset="0"/>
              </a:rPr>
              <a:t>From our combined model, an accuracy was determined through visual inspection with insight from personnel familiar with the data. The combined model produced a true positive rate around 83% and a false positive rate around 1%. </a:t>
            </a:r>
          </a:p>
          <a:p>
            <a:pPr algn="just"/>
            <a:endParaRPr lang="en-US" altLang="en-US" sz="2000" spc="10">
              <a:latin typeface="Calibri" panose="020F0502020204030204" pitchFamily="34" charset="0"/>
              <a:cs typeface="Calibri" panose="020F0502020204030204" pitchFamily="34" charset="0"/>
            </a:endParaRPr>
          </a:p>
          <a:p>
            <a:pPr algn="just"/>
            <a:r>
              <a:rPr lang="en-US" altLang="en-US" sz="2000" spc="10">
                <a:latin typeface="Calibri" panose="020F0502020204030204" pitchFamily="34" charset="0"/>
                <a:cs typeface="Calibri" panose="020F0502020204030204" pitchFamily="34" charset="0"/>
              </a:rPr>
              <a:t>Assuming optimal pricing can be determined from the demand alert, different rates of revenue increases were predicted for each level of anomaly. From these predictions, we figured the average increase in revenue per year to be from 2.6% to 3.5%. Each day the alert helps aid the manager optimally price the bookings, a predicted an increase in revenue of 34% to 46%.</a:t>
            </a:r>
          </a:p>
        </p:txBody>
      </p:sp>
      <p:sp>
        <p:nvSpPr>
          <p:cNvPr id="69" name="Rectangle 68">
            <a:extLst>
              <a:ext uri="{FF2B5EF4-FFF2-40B4-BE49-F238E27FC236}">
                <a16:creationId xmlns:a16="http://schemas.microsoft.com/office/drawing/2014/main" id="{53509046-72C1-7E42-8CAE-407F24BB27A2}"/>
              </a:ext>
            </a:extLst>
          </p:cNvPr>
          <p:cNvSpPr/>
          <p:nvPr/>
        </p:nvSpPr>
        <p:spPr>
          <a:xfrm>
            <a:off x="33785850" y="14856542"/>
            <a:ext cx="3480990"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CONCLUSIONS</a:t>
            </a:r>
          </a:p>
        </p:txBody>
      </p:sp>
      <p:sp>
        <p:nvSpPr>
          <p:cNvPr id="95" name="Rectangle 94">
            <a:extLst>
              <a:ext uri="{FF2B5EF4-FFF2-40B4-BE49-F238E27FC236}">
                <a16:creationId xmlns:a16="http://schemas.microsoft.com/office/drawing/2014/main" id="{7714F491-EE6E-7041-9287-C4DA8470748C}"/>
              </a:ext>
            </a:extLst>
          </p:cNvPr>
          <p:cNvSpPr/>
          <p:nvPr/>
        </p:nvSpPr>
        <p:spPr>
          <a:xfrm>
            <a:off x="34055682" y="14054949"/>
            <a:ext cx="9213576" cy="400110"/>
          </a:xfrm>
          <a:prstGeom prst="rect">
            <a:avLst/>
          </a:prstGeom>
        </p:spPr>
        <p:txBody>
          <a:bodyPr wrap="square">
            <a:spAutoFit/>
          </a:bodyPr>
          <a:lstStyle/>
          <a:p>
            <a:pPr algn="ctr"/>
            <a:r>
              <a:rPr lang="en-US" sz="2000">
                <a:latin typeface="Calibri" panose="020F0502020204030204" pitchFamily="34" charset="0"/>
                <a:ea typeface="Arial" charset="0"/>
                <a:cs typeface="Calibri" panose="020F0502020204030204" pitchFamily="34" charset="0"/>
              </a:rPr>
              <a:t>Fig 6. </a:t>
            </a:r>
            <a:r>
              <a:rPr lang="en-US" sz="2000">
                <a:latin typeface="Calibri" panose="020F0502020204030204" pitchFamily="34" charset="0"/>
                <a:cs typeface="Calibri" panose="020F0502020204030204" pitchFamily="34" charset="0"/>
              </a:rPr>
              <a:t>Total increase in revenue ($) based on predicted anomaly detection</a:t>
            </a:r>
          </a:p>
        </p:txBody>
      </p:sp>
      <p:sp>
        <p:nvSpPr>
          <p:cNvPr id="97" name="TextBox 96">
            <a:extLst>
              <a:ext uri="{FF2B5EF4-FFF2-40B4-BE49-F238E27FC236}">
                <a16:creationId xmlns:a16="http://schemas.microsoft.com/office/drawing/2014/main" id="{90974D1A-B86E-264A-940C-9993B0C9492B}"/>
              </a:ext>
            </a:extLst>
          </p:cNvPr>
          <p:cNvSpPr txBox="1"/>
          <p:nvPr/>
        </p:nvSpPr>
        <p:spPr>
          <a:xfrm>
            <a:off x="33822748" y="15383952"/>
            <a:ext cx="9363808" cy="2246769"/>
          </a:xfrm>
          <a:prstGeom prst="rect">
            <a:avLst/>
          </a:prstGeom>
          <a:noFill/>
        </p:spPr>
        <p:txBody>
          <a:bodyPr wrap="square" rtlCol="0">
            <a:spAutoFit/>
          </a:bodyPr>
          <a:lstStyle/>
          <a:p>
            <a:pPr algn="just"/>
            <a:r>
              <a:rPr lang="en-US" sz="2000">
                <a:latin typeface="Calibri" panose="020F0502020204030204" pitchFamily="34" charset="0"/>
                <a:cs typeface="Calibri" panose="020F0502020204030204" pitchFamily="34" charset="0"/>
              </a:rPr>
              <a:t>The profit gain and cost optimization benefits from the implementation of this product have been shown to be great. The implementation should be carried out within a submarket of suburban hotels, which can then be adapted to fit a company-wide use. From this company-wide adoption, future progressions and adaptions to this product could include a broader anomaly detection scope, allowing for earlier pricing alterations based on demand, and an automatic pricing suggestion to the revenue manager based on additional key variables: room type, demand, etc. </a:t>
            </a:r>
          </a:p>
        </p:txBody>
      </p:sp>
      <p:sp>
        <p:nvSpPr>
          <p:cNvPr id="98" name="Rectangle 97">
            <a:extLst>
              <a:ext uri="{FF2B5EF4-FFF2-40B4-BE49-F238E27FC236}">
                <a16:creationId xmlns:a16="http://schemas.microsoft.com/office/drawing/2014/main" id="{1D3FC686-EB21-2643-9936-3A1A6E6E82B0}"/>
              </a:ext>
            </a:extLst>
          </p:cNvPr>
          <p:cNvSpPr/>
          <p:nvPr/>
        </p:nvSpPr>
        <p:spPr>
          <a:xfrm>
            <a:off x="34228302" y="18025309"/>
            <a:ext cx="4705362" cy="523220"/>
          </a:xfrm>
          <a:prstGeom prst="rect">
            <a:avLst/>
          </a:prstGeom>
        </p:spPr>
        <p:txBody>
          <a:bodyPr wrap="square">
            <a:spAutoFit/>
          </a:bodyPr>
          <a:lstStyle/>
          <a:p>
            <a:r>
              <a:rPr lang="en-US" sz="2800" b="1">
                <a:latin typeface="Calibri" panose="020F0502020204030204" pitchFamily="34" charset="0"/>
                <a:cs typeface="Calibri" panose="020F0502020204030204" pitchFamily="34" charset="0"/>
              </a:rPr>
              <a:t>ACKNOWLEDGEMENTS</a:t>
            </a:r>
          </a:p>
        </p:txBody>
      </p:sp>
      <p:sp>
        <p:nvSpPr>
          <p:cNvPr id="99" name="TextBox 98">
            <a:extLst>
              <a:ext uri="{FF2B5EF4-FFF2-40B4-BE49-F238E27FC236}">
                <a16:creationId xmlns:a16="http://schemas.microsoft.com/office/drawing/2014/main" id="{020E1386-BDA5-5346-AA83-153C667534B4}"/>
              </a:ext>
            </a:extLst>
          </p:cNvPr>
          <p:cNvSpPr txBox="1"/>
          <p:nvPr/>
        </p:nvSpPr>
        <p:spPr>
          <a:xfrm>
            <a:off x="34273659" y="19008511"/>
            <a:ext cx="5047601" cy="923330"/>
          </a:xfrm>
          <a:prstGeom prst="rect">
            <a:avLst/>
          </a:prstGeom>
          <a:noFill/>
        </p:spPr>
        <p:txBody>
          <a:bodyPr wrap="square">
            <a:spAutoFit/>
          </a:bodyPr>
          <a:lstStyle/>
          <a:p>
            <a:pPr algn="just"/>
            <a:r>
              <a:rPr lang="en-IN" sz="1800" spc="10">
                <a:latin typeface="Calibri" panose="020F0502020204030204" pitchFamily="34" charset="0"/>
                <a:cs typeface="Calibri" panose="020F0502020204030204" pitchFamily="34" charset="0"/>
              </a:rPr>
              <a:t>We would like to thank Professor Matthew Lanham and our industry partner for this opportunity, their guidance, and support on this project.</a:t>
            </a:r>
          </a:p>
        </p:txBody>
      </p:sp>
      <p:grpSp>
        <p:nvGrpSpPr>
          <p:cNvPr id="103" name="Group 102">
            <a:extLst>
              <a:ext uri="{FF2B5EF4-FFF2-40B4-BE49-F238E27FC236}">
                <a16:creationId xmlns:a16="http://schemas.microsoft.com/office/drawing/2014/main" id="{0DFB4E1B-698E-4357-B670-67F2CEAF15C2}"/>
              </a:ext>
            </a:extLst>
          </p:cNvPr>
          <p:cNvGrpSpPr/>
          <p:nvPr/>
        </p:nvGrpSpPr>
        <p:grpSpPr>
          <a:xfrm>
            <a:off x="85794" y="15372051"/>
            <a:ext cx="9850729" cy="749440"/>
            <a:chOff x="122919" y="14657841"/>
            <a:chExt cx="10769800" cy="749440"/>
          </a:xfrm>
        </p:grpSpPr>
        <p:sp>
          <p:nvSpPr>
            <p:cNvPr id="105" name="Rectangle: Rounded Corners 104">
              <a:extLst>
                <a:ext uri="{FF2B5EF4-FFF2-40B4-BE49-F238E27FC236}">
                  <a16:creationId xmlns:a16="http://schemas.microsoft.com/office/drawing/2014/main" id="{21F29DFD-7BF6-4B82-B8D1-85D023E6EC32}"/>
                </a:ext>
              </a:extLst>
            </p:cNvPr>
            <p:cNvSpPr/>
            <p:nvPr/>
          </p:nvSpPr>
          <p:spPr bwMode="auto">
            <a:xfrm>
              <a:off x="122919" y="14657841"/>
              <a:ext cx="10769800" cy="749440"/>
            </a:xfrm>
            <a:prstGeom prst="round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a:ln>
                    <a:noFill/>
                  </a:ln>
                  <a:solidFill>
                    <a:schemeClr val="bg1"/>
                  </a:solidFill>
                  <a:effectLst/>
                  <a:latin typeface="Calibri" panose="020F0502020204030204" pitchFamily="34" charset="0"/>
                  <a:cs typeface="Calibri" panose="020F0502020204030204" pitchFamily="34" charset="0"/>
                </a:rPr>
                <a:t>Anomaly Detection         Alert Generation       Alert Classification       Revenue Maximization</a:t>
              </a:r>
            </a:p>
          </p:txBody>
        </p:sp>
        <p:cxnSp>
          <p:nvCxnSpPr>
            <p:cNvPr id="106" name="Straight Arrow Connector 105">
              <a:extLst>
                <a:ext uri="{FF2B5EF4-FFF2-40B4-BE49-F238E27FC236}">
                  <a16:creationId xmlns:a16="http://schemas.microsoft.com/office/drawing/2014/main" id="{671F4C21-2D6A-4999-9015-86C6BCC36BB8}"/>
                </a:ext>
              </a:extLst>
            </p:cNvPr>
            <p:cNvCxnSpPr/>
            <p:nvPr/>
          </p:nvCxnSpPr>
          <p:spPr bwMode="auto">
            <a:xfrm>
              <a:off x="2608044" y="15032561"/>
              <a:ext cx="395781" cy="0"/>
            </a:xfrm>
            <a:prstGeom prst="straightConnector1">
              <a:avLst/>
            </a:prstGeom>
            <a:solidFill>
              <a:schemeClr val="accent1"/>
            </a:solidFill>
            <a:ln w="57150" cap="flat" cmpd="sng" algn="ctr">
              <a:solidFill>
                <a:schemeClr val="bg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Straight Arrow Connector 106">
              <a:extLst>
                <a:ext uri="{FF2B5EF4-FFF2-40B4-BE49-F238E27FC236}">
                  <a16:creationId xmlns:a16="http://schemas.microsoft.com/office/drawing/2014/main" id="{58CD57BE-2AF6-4EC2-B2AB-FECE1547A2C9}"/>
                </a:ext>
              </a:extLst>
            </p:cNvPr>
            <p:cNvCxnSpPr/>
            <p:nvPr/>
          </p:nvCxnSpPr>
          <p:spPr bwMode="auto">
            <a:xfrm>
              <a:off x="5058306" y="15032561"/>
              <a:ext cx="395781" cy="0"/>
            </a:xfrm>
            <a:prstGeom prst="straightConnector1">
              <a:avLst/>
            </a:prstGeom>
            <a:solidFill>
              <a:schemeClr val="accent1"/>
            </a:solidFill>
            <a:ln w="57150" cap="flat" cmpd="sng" algn="ctr">
              <a:solidFill>
                <a:schemeClr val="bg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Straight Arrow Connector 107">
              <a:extLst>
                <a:ext uri="{FF2B5EF4-FFF2-40B4-BE49-F238E27FC236}">
                  <a16:creationId xmlns:a16="http://schemas.microsoft.com/office/drawing/2014/main" id="{C4AB35C2-571F-4E7B-B72E-6C7948D23BCF}"/>
                </a:ext>
              </a:extLst>
            </p:cNvPr>
            <p:cNvCxnSpPr/>
            <p:nvPr/>
          </p:nvCxnSpPr>
          <p:spPr bwMode="auto">
            <a:xfrm>
              <a:off x="7628513" y="15032561"/>
              <a:ext cx="395781" cy="0"/>
            </a:xfrm>
            <a:prstGeom prst="straightConnector1">
              <a:avLst/>
            </a:prstGeom>
            <a:solidFill>
              <a:schemeClr val="accent1"/>
            </a:solidFill>
            <a:ln w="57150" cap="flat" cmpd="sng" algn="ctr">
              <a:solidFill>
                <a:schemeClr val="bg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15" name="TextBox 114">
            <a:extLst>
              <a:ext uri="{FF2B5EF4-FFF2-40B4-BE49-F238E27FC236}">
                <a16:creationId xmlns:a16="http://schemas.microsoft.com/office/drawing/2014/main" id="{C8AE35F7-613C-4A84-8BAE-6E663EE5F55F}"/>
              </a:ext>
            </a:extLst>
          </p:cNvPr>
          <p:cNvSpPr txBox="1"/>
          <p:nvPr/>
        </p:nvSpPr>
        <p:spPr>
          <a:xfrm>
            <a:off x="143891" y="14961768"/>
            <a:ext cx="8279810" cy="400110"/>
          </a:xfrm>
          <a:prstGeom prst="rect">
            <a:avLst/>
          </a:prstGeom>
          <a:noFill/>
        </p:spPr>
        <p:txBody>
          <a:bodyPr wrap="square">
            <a:spAutoFit/>
          </a:bodyPr>
          <a:lstStyle/>
          <a:p>
            <a:r>
              <a:rPr lang="en-US" sz="2000" b="1" spc="10">
                <a:latin typeface="Calibri" panose="020F0502020204030204" pitchFamily="34" charset="0"/>
                <a:cs typeface="Calibri" panose="020F0502020204030204" pitchFamily="34" charset="0"/>
              </a:rPr>
              <a:t>Our study is divided into 4 main steps:</a:t>
            </a:r>
            <a:endParaRPr lang="en-IN" sz="2000" b="1" spc="10">
              <a:latin typeface="Calibri" panose="020F0502020204030204" pitchFamily="34" charset="0"/>
              <a:cs typeface="Calibri" panose="020F0502020204030204" pitchFamily="34" charset="0"/>
            </a:endParaRPr>
          </a:p>
        </p:txBody>
      </p:sp>
      <p:sp>
        <p:nvSpPr>
          <p:cNvPr id="118" name="Rectangle: Rounded Corners 117">
            <a:extLst>
              <a:ext uri="{FF2B5EF4-FFF2-40B4-BE49-F238E27FC236}">
                <a16:creationId xmlns:a16="http://schemas.microsoft.com/office/drawing/2014/main" id="{0A9888E9-E74E-40D3-8188-C401AE27CC66}"/>
              </a:ext>
            </a:extLst>
          </p:cNvPr>
          <p:cNvSpPr/>
          <p:nvPr/>
        </p:nvSpPr>
        <p:spPr>
          <a:xfrm>
            <a:off x="11796409" y="4209643"/>
            <a:ext cx="9865823" cy="2721769"/>
          </a:xfrm>
          <a:prstGeom prst="roundRect">
            <a:avLst/>
          </a:prstGeom>
          <a:solidFill>
            <a:schemeClr val="accent6">
              <a:lumMod val="20000"/>
              <a:lumOff val="8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21" name="Rectangle: Rounded Corners 120">
            <a:extLst>
              <a:ext uri="{FF2B5EF4-FFF2-40B4-BE49-F238E27FC236}">
                <a16:creationId xmlns:a16="http://schemas.microsoft.com/office/drawing/2014/main" id="{4035F42A-E3E7-4C81-AB64-EF4617B7EB22}"/>
              </a:ext>
            </a:extLst>
          </p:cNvPr>
          <p:cNvSpPr/>
          <p:nvPr/>
        </p:nvSpPr>
        <p:spPr>
          <a:xfrm>
            <a:off x="11852996" y="6410448"/>
            <a:ext cx="2286000" cy="471320"/>
          </a:xfrm>
          <a:prstGeom prst="round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Data cleaning</a:t>
            </a:r>
          </a:p>
        </p:txBody>
      </p:sp>
      <p:sp>
        <p:nvSpPr>
          <p:cNvPr id="122" name="Flowchart: Magnetic Disk 121">
            <a:extLst>
              <a:ext uri="{FF2B5EF4-FFF2-40B4-BE49-F238E27FC236}">
                <a16:creationId xmlns:a16="http://schemas.microsoft.com/office/drawing/2014/main" id="{3E4C133B-7B50-4CD5-AE26-AC25A3D533E7}"/>
              </a:ext>
            </a:extLst>
          </p:cNvPr>
          <p:cNvSpPr/>
          <p:nvPr/>
        </p:nvSpPr>
        <p:spPr>
          <a:xfrm>
            <a:off x="11985290" y="4588245"/>
            <a:ext cx="1227398" cy="1007335"/>
          </a:xfrm>
          <a:prstGeom prst="flowChartMagneticDisk">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13500000" scaled="1"/>
            <a:tileRect/>
          </a:gra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Training Data</a:t>
            </a:r>
          </a:p>
        </p:txBody>
      </p:sp>
      <p:sp>
        <p:nvSpPr>
          <p:cNvPr id="124" name="Rectangle: Rounded Corners 123">
            <a:extLst>
              <a:ext uri="{FF2B5EF4-FFF2-40B4-BE49-F238E27FC236}">
                <a16:creationId xmlns:a16="http://schemas.microsoft.com/office/drawing/2014/main" id="{B6C2145A-A299-4ED1-B70C-4BDC186B36B3}"/>
              </a:ext>
            </a:extLst>
          </p:cNvPr>
          <p:cNvSpPr/>
          <p:nvPr/>
        </p:nvSpPr>
        <p:spPr>
          <a:xfrm>
            <a:off x="15863953" y="6410448"/>
            <a:ext cx="2286000" cy="471320"/>
          </a:xfrm>
          <a:prstGeom prst="round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EDA</a:t>
            </a:r>
          </a:p>
        </p:txBody>
      </p:sp>
      <p:sp>
        <p:nvSpPr>
          <p:cNvPr id="125" name="Rectangle: Rounded Corners 124">
            <a:extLst>
              <a:ext uri="{FF2B5EF4-FFF2-40B4-BE49-F238E27FC236}">
                <a16:creationId xmlns:a16="http://schemas.microsoft.com/office/drawing/2014/main" id="{923242EC-DA09-4944-AC13-3B2E7DC17A80}"/>
              </a:ext>
            </a:extLst>
          </p:cNvPr>
          <p:cNvSpPr/>
          <p:nvPr/>
        </p:nvSpPr>
        <p:spPr>
          <a:xfrm>
            <a:off x="17620668" y="5000768"/>
            <a:ext cx="2286000" cy="471320"/>
          </a:xfrm>
          <a:prstGeom prst="round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Feature selection</a:t>
            </a:r>
          </a:p>
        </p:txBody>
      </p:sp>
      <p:sp>
        <p:nvSpPr>
          <p:cNvPr id="126" name="Arrow: Right 125">
            <a:extLst>
              <a:ext uri="{FF2B5EF4-FFF2-40B4-BE49-F238E27FC236}">
                <a16:creationId xmlns:a16="http://schemas.microsoft.com/office/drawing/2014/main" id="{2EEDBBFB-97DE-4C97-AA29-09FEC1BDA867}"/>
              </a:ext>
            </a:extLst>
          </p:cNvPr>
          <p:cNvSpPr/>
          <p:nvPr/>
        </p:nvSpPr>
        <p:spPr>
          <a:xfrm>
            <a:off x="11444631" y="6621515"/>
            <a:ext cx="408365" cy="148004"/>
          </a:xfrm>
          <a:prstGeom prst="rightArrow">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27" name="Arrow: Right 126">
            <a:extLst>
              <a:ext uri="{FF2B5EF4-FFF2-40B4-BE49-F238E27FC236}">
                <a16:creationId xmlns:a16="http://schemas.microsoft.com/office/drawing/2014/main" id="{E2D4CEED-C867-42A1-950C-0F02A436C78A}"/>
              </a:ext>
            </a:extLst>
          </p:cNvPr>
          <p:cNvSpPr/>
          <p:nvPr/>
        </p:nvSpPr>
        <p:spPr>
          <a:xfrm>
            <a:off x="14138996" y="6572106"/>
            <a:ext cx="1724957" cy="148004"/>
          </a:xfrm>
          <a:prstGeom prst="rightArrow">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28" name="Arrow: Right 127">
            <a:extLst>
              <a:ext uri="{FF2B5EF4-FFF2-40B4-BE49-F238E27FC236}">
                <a16:creationId xmlns:a16="http://schemas.microsoft.com/office/drawing/2014/main" id="{EBDBF738-0B76-4CB5-A754-DFEDC25A0C8A}"/>
              </a:ext>
            </a:extLst>
          </p:cNvPr>
          <p:cNvSpPr/>
          <p:nvPr/>
        </p:nvSpPr>
        <p:spPr>
          <a:xfrm>
            <a:off x="13201648" y="5162426"/>
            <a:ext cx="4419020" cy="148004"/>
          </a:xfrm>
          <a:prstGeom prst="rightArrow">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29" name="Arrow: Right 128">
            <a:extLst>
              <a:ext uri="{FF2B5EF4-FFF2-40B4-BE49-F238E27FC236}">
                <a16:creationId xmlns:a16="http://schemas.microsoft.com/office/drawing/2014/main" id="{93469BBA-1AA4-4FAE-A6B9-0B626135BC47}"/>
              </a:ext>
            </a:extLst>
          </p:cNvPr>
          <p:cNvSpPr/>
          <p:nvPr/>
        </p:nvSpPr>
        <p:spPr>
          <a:xfrm rot="16200000">
            <a:off x="12204198" y="5914454"/>
            <a:ext cx="818119" cy="173870"/>
          </a:xfrm>
          <a:prstGeom prst="rightArrow">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30" name="Arrow: Right 129">
            <a:extLst>
              <a:ext uri="{FF2B5EF4-FFF2-40B4-BE49-F238E27FC236}">
                <a16:creationId xmlns:a16="http://schemas.microsoft.com/office/drawing/2014/main" id="{4001728D-C8DA-449C-A690-8E133E914432}"/>
              </a:ext>
            </a:extLst>
          </p:cNvPr>
          <p:cNvSpPr/>
          <p:nvPr/>
        </p:nvSpPr>
        <p:spPr>
          <a:xfrm rot="5400000" flipV="1">
            <a:off x="12168590" y="7304719"/>
            <a:ext cx="909886" cy="157221"/>
          </a:xfrm>
          <a:prstGeom prst="rightArrow">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2" name="Title 1">
            <a:extLst>
              <a:ext uri="{FF2B5EF4-FFF2-40B4-BE49-F238E27FC236}">
                <a16:creationId xmlns:a16="http://schemas.microsoft.com/office/drawing/2014/main" id="{5547C3F3-2E3C-4A24-921E-12864685E4D0}"/>
              </a:ext>
            </a:extLst>
          </p:cNvPr>
          <p:cNvSpPr txBox="1">
            <a:spLocks/>
          </p:cNvSpPr>
          <p:nvPr/>
        </p:nvSpPr>
        <p:spPr>
          <a:xfrm>
            <a:off x="11958240" y="4213003"/>
            <a:ext cx="9303074" cy="37793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i="1">
                <a:latin typeface="Calibri" panose="020F0502020204030204" pitchFamily="34" charset="0"/>
                <a:cs typeface="Calibri" panose="020F0502020204030204" pitchFamily="34" charset="0"/>
              </a:rPr>
              <a:t>Data Preprocessing</a:t>
            </a:r>
          </a:p>
        </p:txBody>
      </p:sp>
      <p:sp>
        <p:nvSpPr>
          <p:cNvPr id="152" name="Title 1">
            <a:extLst>
              <a:ext uri="{FF2B5EF4-FFF2-40B4-BE49-F238E27FC236}">
                <a16:creationId xmlns:a16="http://schemas.microsoft.com/office/drawing/2014/main" id="{DB321640-A5E8-40F2-AFE9-EB953C45020C}"/>
              </a:ext>
            </a:extLst>
          </p:cNvPr>
          <p:cNvSpPr txBox="1">
            <a:spLocks/>
          </p:cNvSpPr>
          <p:nvPr/>
        </p:nvSpPr>
        <p:spPr>
          <a:xfrm>
            <a:off x="19392323" y="14034763"/>
            <a:ext cx="1986251" cy="377936"/>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i="1">
                <a:latin typeface="Calibri" panose="020F0502020204030204" pitchFamily="34" charset="0"/>
                <a:cs typeface="Calibri" panose="020F0502020204030204" pitchFamily="34" charset="0"/>
              </a:rPr>
              <a:t>Alert System</a:t>
            </a:r>
          </a:p>
        </p:txBody>
      </p:sp>
      <p:pic>
        <p:nvPicPr>
          <p:cNvPr id="153" name="Picture 152" descr="Shape&#10;&#10;Description automatically generated with low confidence">
            <a:extLst>
              <a:ext uri="{FF2B5EF4-FFF2-40B4-BE49-F238E27FC236}">
                <a16:creationId xmlns:a16="http://schemas.microsoft.com/office/drawing/2014/main" id="{A0B942B5-4736-44C1-92EC-7540878FBBFC}"/>
              </a:ext>
            </a:extLst>
          </p:cNvPr>
          <p:cNvPicPr>
            <a:picLocks noChangeAspect="1"/>
          </p:cNvPicPr>
          <p:nvPr/>
        </p:nvPicPr>
        <p:blipFill>
          <a:blip r:embed="rId5">
            <a:duotone>
              <a:schemeClr val="accent2">
                <a:shade val="45000"/>
                <a:satMod val="135000"/>
              </a:schemeClr>
              <a:prstClr val="white"/>
            </a:duotone>
          </a:blip>
          <a:stretch>
            <a:fillRect/>
          </a:stretch>
        </p:blipFill>
        <p:spPr>
          <a:xfrm>
            <a:off x="19956384" y="4971303"/>
            <a:ext cx="548640" cy="530250"/>
          </a:xfrm>
          <a:prstGeom prst="rect">
            <a:avLst/>
          </a:prstGeom>
        </p:spPr>
      </p:pic>
      <p:sp>
        <p:nvSpPr>
          <p:cNvPr id="119" name="Rectangle: Rounded Corners 118">
            <a:extLst>
              <a:ext uri="{FF2B5EF4-FFF2-40B4-BE49-F238E27FC236}">
                <a16:creationId xmlns:a16="http://schemas.microsoft.com/office/drawing/2014/main" id="{4FB5416C-DE72-43F8-B077-D8539D88D434}"/>
              </a:ext>
            </a:extLst>
          </p:cNvPr>
          <p:cNvSpPr/>
          <p:nvPr/>
        </p:nvSpPr>
        <p:spPr>
          <a:xfrm>
            <a:off x="13490084" y="7476659"/>
            <a:ext cx="8109171" cy="2721769"/>
          </a:xfrm>
          <a:prstGeom prst="roundRect">
            <a:avLst/>
          </a:prstGeom>
          <a:solidFill>
            <a:schemeClr val="accent1">
              <a:lumMod val="20000"/>
              <a:lumOff val="8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1" name="Title 1">
            <a:extLst>
              <a:ext uri="{FF2B5EF4-FFF2-40B4-BE49-F238E27FC236}">
                <a16:creationId xmlns:a16="http://schemas.microsoft.com/office/drawing/2014/main" id="{857633A7-196C-40E7-8186-47587C09BDFC}"/>
              </a:ext>
            </a:extLst>
          </p:cNvPr>
          <p:cNvSpPr txBox="1">
            <a:spLocks/>
          </p:cNvSpPr>
          <p:nvPr/>
        </p:nvSpPr>
        <p:spPr>
          <a:xfrm>
            <a:off x="14068927" y="7791719"/>
            <a:ext cx="1864853" cy="212602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i="1">
                <a:latin typeface="Calibri" panose="020F0502020204030204" pitchFamily="34" charset="0"/>
                <a:cs typeface="Calibri" panose="020F0502020204030204" pitchFamily="34" charset="0"/>
              </a:rPr>
              <a:t>Anomaly Detection</a:t>
            </a:r>
          </a:p>
        </p:txBody>
      </p:sp>
      <p:sp>
        <p:nvSpPr>
          <p:cNvPr id="143" name="Diamond 142">
            <a:extLst>
              <a:ext uri="{FF2B5EF4-FFF2-40B4-BE49-F238E27FC236}">
                <a16:creationId xmlns:a16="http://schemas.microsoft.com/office/drawing/2014/main" id="{CE11662F-D3DF-4A4D-9E01-251B3F164D59}"/>
              </a:ext>
            </a:extLst>
          </p:cNvPr>
          <p:cNvSpPr/>
          <p:nvPr/>
        </p:nvSpPr>
        <p:spPr>
          <a:xfrm>
            <a:off x="17811357" y="9134668"/>
            <a:ext cx="2170377" cy="651216"/>
          </a:xfrm>
          <a:prstGeom prst="diamond">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Best Model</a:t>
            </a:r>
          </a:p>
        </p:txBody>
      </p:sp>
      <p:grpSp>
        <p:nvGrpSpPr>
          <p:cNvPr id="171" name="Group 170">
            <a:extLst>
              <a:ext uri="{FF2B5EF4-FFF2-40B4-BE49-F238E27FC236}">
                <a16:creationId xmlns:a16="http://schemas.microsoft.com/office/drawing/2014/main" id="{F371A091-A923-4C99-BD6E-589B77B8EC50}"/>
              </a:ext>
            </a:extLst>
          </p:cNvPr>
          <p:cNvGrpSpPr/>
          <p:nvPr/>
        </p:nvGrpSpPr>
        <p:grpSpPr>
          <a:xfrm rot="5400000">
            <a:off x="18644429" y="6334793"/>
            <a:ext cx="426289" cy="4039696"/>
            <a:chOff x="15554226" y="15840773"/>
            <a:chExt cx="426289" cy="2721771"/>
          </a:xfrm>
        </p:grpSpPr>
        <p:sp>
          <p:nvSpPr>
            <p:cNvPr id="144" name="Rectangle 143">
              <a:extLst>
                <a:ext uri="{FF2B5EF4-FFF2-40B4-BE49-F238E27FC236}">
                  <a16:creationId xmlns:a16="http://schemas.microsoft.com/office/drawing/2014/main" id="{8E1C4399-3D31-44C3-915E-CF4D2ED3D8DF}"/>
                </a:ext>
              </a:extLst>
            </p:cNvPr>
            <p:cNvSpPr/>
            <p:nvPr/>
          </p:nvSpPr>
          <p:spPr>
            <a:xfrm>
              <a:off x="15901905" y="15840773"/>
              <a:ext cx="78610" cy="2721769"/>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5" name="Rectangle 144">
              <a:extLst>
                <a:ext uri="{FF2B5EF4-FFF2-40B4-BE49-F238E27FC236}">
                  <a16:creationId xmlns:a16="http://schemas.microsoft.com/office/drawing/2014/main" id="{E24CE0A9-5318-48C5-8DA3-DF97D8096365}"/>
                </a:ext>
              </a:extLst>
            </p:cNvPr>
            <p:cNvSpPr/>
            <p:nvPr/>
          </p:nvSpPr>
          <p:spPr>
            <a:xfrm rot="5400000">
              <a:off x="15702262" y="15692742"/>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6" name="Rectangle 145">
              <a:extLst>
                <a:ext uri="{FF2B5EF4-FFF2-40B4-BE49-F238E27FC236}">
                  <a16:creationId xmlns:a16="http://schemas.microsoft.com/office/drawing/2014/main" id="{46718DC3-08F4-4A81-A332-6B0E2D4FBD87}"/>
                </a:ext>
              </a:extLst>
            </p:cNvPr>
            <p:cNvSpPr/>
            <p:nvPr/>
          </p:nvSpPr>
          <p:spPr>
            <a:xfrm rot="5400000">
              <a:off x="15702261" y="16499989"/>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7" name="Rectangle 146">
              <a:extLst>
                <a:ext uri="{FF2B5EF4-FFF2-40B4-BE49-F238E27FC236}">
                  <a16:creationId xmlns:a16="http://schemas.microsoft.com/office/drawing/2014/main" id="{7443E588-B12B-4716-83F3-223162180155}"/>
                </a:ext>
              </a:extLst>
            </p:cNvPr>
            <p:cNvSpPr/>
            <p:nvPr/>
          </p:nvSpPr>
          <p:spPr>
            <a:xfrm rot="5400000">
              <a:off x="15702258" y="17429419"/>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48" name="Rectangle 147">
              <a:extLst>
                <a:ext uri="{FF2B5EF4-FFF2-40B4-BE49-F238E27FC236}">
                  <a16:creationId xmlns:a16="http://schemas.microsoft.com/office/drawing/2014/main" id="{A6A2BF17-9004-4B54-B118-EB49C7C34B07}"/>
                </a:ext>
              </a:extLst>
            </p:cNvPr>
            <p:cNvSpPr/>
            <p:nvPr/>
          </p:nvSpPr>
          <p:spPr>
            <a:xfrm rot="5400000">
              <a:off x="15702258" y="18358852"/>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grpSp>
      <p:sp>
        <p:nvSpPr>
          <p:cNvPr id="149" name="Arrow: Right 148">
            <a:extLst>
              <a:ext uri="{FF2B5EF4-FFF2-40B4-BE49-F238E27FC236}">
                <a16:creationId xmlns:a16="http://schemas.microsoft.com/office/drawing/2014/main" id="{138DEF15-F60A-4856-B879-709F3D18E394}"/>
              </a:ext>
            </a:extLst>
          </p:cNvPr>
          <p:cNvSpPr/>
          <p:nvPr/>
        </p:nvSpPr>
        <p:spPr>
          <a:xfrm rot="5400000">
            <a:off x="18612513" y="8776635"/>
            <a:ext cx="568067" cy="148004"/>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pic>
        <p:nvPicPr>
          <p:cNvPr id="154" name="Picture 153" descr="Icon&#10;&#10;Description automatically generated">
            <a:extLst>
              <a:ext uri="{FF2B5EF4-FFF2-40B4-BE49-F238E27FC236}">
                <a16:creationId xmlns:a16="http://schemas.microsoft.com/office/drawing/2014/main" id="{C5F767D6-7853-4F58-9DF5-1EFD946ADB25}"/>
              </a:ext>
            </a:extLst>
          </p:cNvPr>
          <p:cNvPicPr>
            <a:picLocks noChangeAspect="1"/>
          </p:cNvPicPr>
          <p:nvPr/>
        </p:nvPicPr>
        <p:blipFill>
          <a:blip r:embed="rId6">
            <a:duotone>
              <a:prstClr val="black"/>
              <a:schemeClr val="accent1">
                <a:tint val="45000"/>
                <a:satMod val="400000"/>
              </a:schemeClr>
            </a:duotone>
          </a:blip>
          <a:stretch>
            <a:fillRect/>
          </a:stretch>
        </p:blipFill>
        <p:spPr>
          <a:xfrm>
            <a:off x="17763130" y="8740288"/>
            <a:ext cx="548640" cy="530250"/>
          </a:xfrm>
          <a:prstGeom prst="rect">
            <a:avLst/>
          </a:prstGeom>
        </p:spPr>
      </p:pic>
      <p:sp>
        <p:nvSpPr>
          <p:cNvPr id="120" name="Rectangle: Rounded Corners 119">
            <a:extLst>
              <a:ext uri="{FF2B5EF4-FFF2-40B4-BE49-F238E27FC236}">
                <a16:creationId xmlns:a16="http://schemas.microsoft.com/office/drawing/2014/main" id="{5B9E372B-EFCC-4F42-A2BE-B52898111480}"/>
              </a:ext>
            </a:extLst>
          </p:cNvPr>
          <p:cNvSpPr/>
          <p:nvPr/>
        </p:nvSpPr>
        <p:spPr>
          <a:xfrm>
            <a:off x="11288092" y="10907020"/>
            <a:ext cx="10307925" cy="3098255"/>
          </a:xfrm>
          <a:prstGeom prst="roundRect">
            <a:avLst/>
          </a:prstGeom>
          <a:solidFill>
            <a:schemeClr val="accent3">
              <a:lumMod val="20000"/>
              <a:lumOff val="80000"/>
            </a:schemeClr>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pic>
        <p:nvPicPr>
          <p:cNvPr id="155" name="Picture 154" descr="Logo, icon&#10;&#10;Description automatically generated">
            <a:extLst>
              <a:ext uri="{FF2B5EF4-FFF2-40B4-BE49-F238E27FC236}">
                <a16:creationId xmlns:a16="http://schemas.microsoft.com/office/drawing/2014/main" id="{039138A8-CF30-417E-868C-4D2494CA10E2}"/>
              </a:ext>
            </a:extLst>
          </p:cNvPr>
          <p:cNvPicPr>
            <a:picLocks noChangeAspect="1"/>
          </p:cNvPicPr>
          <p:nvPr/>
        </p:nvPicPr>
        <p:blipFill>
          <a:blip r:embed="rId7">
            <a:duotone>
              <a:prstClr val="black"/>
              <a:srgbClr val="FF0000">
                <a:tint val="45000"/>
                <a:satMod val="400000"/>
              </a:srgbClr>
            </a:duotone>
          </a:blip>
          <a:stretch>
            <a:fillRect/>
          </a:stretch>
        </p:blipFill>
        <p:spPr>
          <a:xfrm>
            <a:off x="20353732" y="11083254"/>
            <a:ext cx="548640" cy="530250"/>
          </a:xfrm>
          <a:prstGeom prst="rect">
            <a:avLst/>
          </a:prstGeom>
        </p:spPr>
      </p:pic>
      <p:sp>
        <p:nvSpPr>
          <p:cNvPr id="156" name="Rectangle: Rounded Corners 155">
            <a:extLst>
              <a:ext uri="{FF2B5EF4-FFF2-40B4-BE49-F238E27FC236}">
                <a16:creationId xmlns:a16="http://schemas.microsoft.com/office/drawing/2014/main" id="{9ED46A77-2A83-473F-8F75-3CB3F79FE994}"/>
              </a:ext>
            </a:extLst>
          </p:cNvPr>
          <p:cNvSpPr/>
          <p:nvPr/>
        </p:nvSpPr>
        <p:spPr>
          <a:xfrm>
            <a:off x="17722049" y="12184666"/>
            <a:ext cx="2377440" cy="471320"/>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Report generation</a:t>
            </a:r>
          </a:p>
        </p:txBody>
      </p:sp>
      <p:sp>
        <p:nvSpPr>
          <p:cNvPr id="157" name="Rectangle: Rounded Corners 156">
            <a:extLst>
              <a:ext uri="{FF2B5EF4-FFF2-40B4-BE49-F238E27FC236}">
                <a16:creationId xmlns:a16="http://schemas.microsoft.com/office/drawing/2014/main" id="{0023CEBB-B79A-4041-AB99-865789BDB980}"/>
              </a:ext>
            </a:extLst>
          </p:cNvPr>
          <p:cNvSpPr/>
          <p:nvPr/>
        </p:nvSpPr>
        <p:spPr>
          <a:xfrm>
            <a:off x="17719077" y="13256612"/>
            <a:ext cx="2377440" cy="471320"/>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Alert to system</a:t>
            </a:r>
          </a:p>
        </p:txBody>
      </p:sp>
      <p:sp>
        <p:nvSpPr>
          <p:cNvPr id="158" name="Rectangle: Rounded Corners 157">
            <a:extLst>
              <a:ext uri="{FF2B5EF4-FFF2-40B4-BE49-F238E27FC236}">
                <a16:creationId xmlns:a16="http://schemas.microsoft.com/office/drawing/2014/main" id="{68603CD9-F297-4C7E-8005-9602966CAFE2}"/>
              </a:ext>
            </a:extLst>
          </p:cNvPr>
          <p:cNvSpPr/>
          <p:nvPr/>
        </p:nvSpPr>
        <p:spPr>
          <a:xfrm>
            <a:off x="17725021" y="11112719"/>
            <a:ext cx="2377440" cy="471320"/>
          </a:xfrm>
          <a:prstGeom prst="roundRect">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Anomaly in booking</a:t>
            </a:r>
          </a:p>
        </p:txBody>
      </p:sp>
      <p:pic>
        <p:nvPicPr>
          <p:cNvPr id="163" name="Picture 162" descr="Icon&#10;&#10;Description automatically generated">
            <a:extLst>
              <a:ext uri="{FF2B5EF4-FFF2-40B4-BE49-F238E27FC236}">
                <a16:creationId xmlns:a16="http://schemas.microsoft.com/office/drawing/2014/main" id="{392BFE80-9A19-4B64-B428-8950AFE7D399}"/>
              </a:ext>
            </a:extLst>
          </p:cNvPr>
          <p:cNvPicPr>
            <a:picLocks noChangeAspect="1"/>
          </p:cNvPicPr>
          <p:nvPr/>
        </p:nvPicPr>
        <p:blipFill>
          <a:blip r:embed="rId8">
            <a:duotone>
              <a:prstClr val="black"/>
              <a:schemeClr val="accent3">
                <a:tint val="45000"/>
                <a:satMod val="400000"/>
              </a:schemeClr>
            </a:duotone>
          </a:blip>
          <a:stretch>
            <a:fillRect/>
          </a:stretch>
        </p:blipFill>
        <p:spPr>
          <a:xfrm>
            <a:off x="20353734" y="12176111"/>
            <a:ext cx="548640" cy="530250"/>
          </a:xfrm>
          <a:prstGeom prst="rect">
            <a:avLst/>
          </a:prstGeom>
        </p:spPr>
      </p:pic>
      <p:pic>
        <p:nvPicPr>
          <p:cNvPr id="164" name="Picture 163" descr="Icon&#10;&#10;Description automatically generated">
            <a:extLst>
              <a:ext uri="{FF2B5EF4-FFF2-40B4-BE49-F238E27FC236}">
                <a16:creationId xmlns:a16="http://schemas.microsoft.com/office/drawing/2014/main" id="{ADF67F5E-42F5-47EF-8EBE-CAD7F6D55007}"/>
              </a:ext>
            </a:extLst>
          </p:cNvPr>
          <p:cNvPicPr>
            <a:picLocks noChangeAspect="1"/>
          </p:cNvPicPr>
          <p:nvPr/>
        </p:nvPicPr>
        <p:blipFill>
          <a:blip r:embed="rId9">
            <a:duotone>
              <a:prstClr val="black"/>
              <a:schemeClr val="accent3">
                <a:tint val="45000"/>
                <a:satMod val="400000"/>
              </a:schemeClr>
            </a:duotone>
          </a:blip>
          <a:stretch>
            <a:fillRect/>
          </a:stretch>
        </p:blipFill>
        <p:spPr>
          <a:xfrm>
            <a:off x="20353732" y="13268967"/>
            <a:ext cx="548640" cy="530250"/>
          </a:xfrm>
          <a:prstGeom prst="rect">
            <a:avLst/>
          </a:prstGeom>
        </p:spPr>
      </p:pic>
      <p:pic>
        <p:nvPicPr>
          <p:cNvPr id="165" name="Picture 164" descr="Shape&#10;&#10;Description automatically generated with low confidence">
            <a:extLst>
              <a:ext uri="{FF2B5EF4-FFF2-40B4-BE49-F238E27FC236}">
                <a16:creationId xmlns:a16="http://schemas.microsoft.com/office/drawing/2014/main" id="{2728B3C1-28E0-4AE1-A3F9-892DE3162C30}"/>
              </a:ext>
            </a:extLst>
          </p:cNvPr>
          <p:cNvPicPr>
            <a:picLocks noChangeAspect="1"/>
          </p:cNvPicPr>
          <p:nvPr/>
        </p:nvPicPr>
        <p:blipFill>
          <a:blip r:embed="rId10">
            <a:duotone>
              <a:schemeClr val="accent2">
                <a:shade val="45000"/>
                <a:satMod val="135000"/>
              </a:schemeClr>
              <a:prstClr val="white"/>
            </a:duotone>
          </a:blip>
          <a:stretch>
            <a:fillRect/>
          </a:stretch>
        </p:blipFill>
        <p:spPr>
          <a:xfrm>
            <a:off x="11880743" y="5709053"/>
            <a:ext cx="548640" cy="530250"/>
          </a:xfrm>
          <a:prstGeom prst="rect">
            <a:avLst/>
          </a:prstGeom>
        </p:spPr>
      </p:pic>
      <p:pic>
        <p:nvPicPr>
          <p:cNvPr id="166" name="Picture 165" descr="Icon&#10;&#10;Description automatically generated with low confidence">
            <a:extLst>
              <a:ext uri="{FF2B5EF4-FFF2-40B4-BE49-F238E27FC236}">
                <a16:creationId xmlns:a16="http://schemas.microsoft.com/office/drawing/2014/main" id="{7E01EEE4-5221-41BF-8991-DA529DF713DE}"/>
              </a:ext>
            </a:extLst>
          </p:cNvPr>
          <p:cNvPicPr>
            <a:picLocks noChangeAspect="1"/>
          </p:cNvPicPr>
          <p:nvPr/>
        </p:nvPicPr>
        <p:blipFill>
          <a:blip r:embed="rId11">
            <a:duotone>
              <a:schemeClr val="accent2">
                <a:shade val="45000"/>
                <a:satMod val="135000"/>
              </a:schemeClr>
              <a:prstClr val="white"/>
            </a:duotone>
          </a:blip>
          <a:stretch>
            <a:fillRect/>
          </a:stretch>
        </p:blipFill>
        <p:spPr>
          <a:xfrm>
            <a:off x="16728529" y="5776258"/>
            <a:ext cx="548640" cy="530250"/>
          </a:xfrm>
          <a:prstGeom prst="rect">
            <a:avLst/>
          </a:prstGeom>
        </p:spPr>
      </p:pic>
      <p:sp>
        <p:nvSpPr>
          <p:cNvPr id="168" name="Flowchart: Magnetic Disk 167">
            <a:extLst>
              <a:ext uri="{FF2B5EF4-FFF2-40B4-BE49-F238E27FC236}">
                <a16:creationId xmlns:a16="http://schemas.microsoft.com/office/drawing/2014/main" id="{B2A85D74-0730-4016-85CE-3AD18E8FB15C}"/>
              </a:ext>
            </a:extLst>
          </p:cNvPr>
          <p:cNvSpPr/>
          <p:nvPr/>
        </p:nvSpPr>
        <p:spPr>
          <a:xfrm>
            <a:off x="10264218" y="6096836"/>
            <a:ext cx="1227398" cy="1007335"/>
          </a:xfrm>
          <a:prstGeom prst="flowChartMagneticDisk">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13500000" scaled="1"/>
            <a:tileRect/>
          </a:gra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Data</a:t>
            </a:r>
          </a:p>
        </p:txBody>
      </p:sp>
      <p:sp>
        <p:nvSpPr>
          <p:cNvPr id="169" name="Flowchart: Magnetic Disk 168">
            <a:extLst>
              <a:ext uri="{FF2B5EF4-FFF2-40B4-BE49-F238E27FC236}">
                <a16:creationId xmlns:a16="http://schemas.microsoft.com/office/drawing/2014/main" id="{6107CA75-7F32-4745-91C7-74DD08BDB444}"/>
              </a:ext>
            </a:extLst>
          </p:cNvPr>
          <p:cNvSpPr/>
          <p:nvPr/>
        </p:nvSpPr>
        <p:spPr>
          <a:xfrm>
            <a:off x="12085976" y="7847396"/>
            <a:ext cx="1227398" cy="1007335"/>
          </a:xfrm>
          <a:prstGeom prst="flowChartMagneticDisk">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13500000" scaled="1"/>
            <a:tileRect/>
          </a:gra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Test Data</a:t>
            </a:r>
          </a:p>
        </p:txBody>
      </p:sp>
      <p:grpSp>
        <p:nvGrpSpPr>
          <p:cNvPr id="172" name="Group 171">
            <a:extLst>
              <a:ext uri="{FF2B5EF4-FFF2-40B4-BE49-F238E27FC236}">
                <a16:creationId xmlns:a16="http://schemas.microsoft.com/office/drawing/2014/main" id="{62BBDF36-E084-448D-93EC-5CB1DEC1C26E}"/>
              </a:ext>
            </a:extLst>
          </p:cNvPr>
          <p:cNvGrpSpPr/>
          <p:nvPr/>
        </p:nvGrpSpPr>
        <p:grpSpPr>
          <a:xfrm rot="16200000">
            <a:off x="18669386" y="5425247"/>
            <a:ext cx="426289" cy="4039696"/>
            <a:chOff x="15554226" y="15840773"/>
            <a:chExt cx="426289" cy="2721771"/>
          </a:xfrm>
        </p:grpSpPr>
        <p:sp>
          <p:nvSpPr>
            <p:cNvPr id="173" name="Rectangle 172">
              <a:extLst>
                <a:ext uri="{FF2B5EF4-FFF2-40B4-BE49-F238E27FC236}">
                  <a16:creationId xmlns:a16="http://schemas.microsoft.com/office/drawing/2014/main" id="{AEC9E577-3465-479F-ACFC-DCD2390987FB}"/>
                </a:ext>
              </a:extLst>
            </p:cNvPr>
            <p:cNvSpPr/>
            <p:nvPr/>
          </p:nvSpPr>
          <p:spPr>
            <a:xfrm>
              <a:off x="15901905" y="15840773"/>
              <a:ext cx="78610" cy="2721769"/>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74" name="Rectangle 173">
              <a:extLst>
                <a:ext uri="{FF2B5EF4-FFF2-40B4-BE49-F238E27FC236}">
                  <a16:creationId xmlns:a16="http://schemas.microsoft.com/office/drawing/2014/main" id="{B9490D13-230D-4ECE-9460-84A0D429D119}"/>
                </a:ext>
              </a:extLst>
            </p:cNvPr>
            <p:cNvSpPr/>
            <p:nvPr/>
          </p:nvSpPr>
          <p:spPr>
            <a:xfrm rot="5400000">
              <a:off x="15702262" y="15692742"/>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75" name="Rectangle 174">
              <a:extLst>
                <a:ext uri="{FF2B5EF4-FFF2-40B4-BE49-F238E27FC236}">
                  <a16:creationId xmlns:a16="http://schemas.microsoft.com/office/drawing/2014/main" id="{B49059D4-DF26-4458-A0F1-FA02F45EA4C5}"/>
                </a:ext>
              </a:extLst>
            </p:cNvPr>
            <p:cNvSpPr/>
            <p:nvPr/>
          </p:nvSpPr>
          <p:spPr>
            <a:xfrm rot="5400000">
              <a:off x="15702261" y="16499989"/>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76" name="Rectangle 175">
              <a:extLst>
                <a:ext uri="{FF2B5EF4-FFF2-40B4-BE49-F238E27FC236}">
                  <a16:creationId xmlns:a16="http://schemas.microsoft.com/office/drawing/2014/main" id="{F3440915-0C61-4B48-B0F5-7B2AF5ECE1A9}"/>
                </a:ext>
              </a:extLst>
            </p:cNvPr>
            <p:cNvSpPr/>
            <p:nvPr/>
          </p:nvSpPr>
          <p:spPr>
            <a:xfrm rot="5400000">
              <a:off x="15702258" y="17429419"/>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77" name="Rectangle 176">
              <a:extLst>
                <a:ext uri="{FF2B5EF4-FFF2-40B4-BE49-F238E27FC236}">
                  <a16:creationId xmlns:a16="http://schemas.microsoft.com/office/drawing/2014/main" id="{679B3507-C7C0-4DED-A2C8-69A9BB03F7CD}"/>
                </a:ext>
              </a:extLst>
            </p:cNvPr>
            <p:cNvSpPr/>
            <p:nvPr/>
          </p:nvSpPr>
          <p:spPr>
            <a:xfrm rot="5400000">
              <a:off x="15702258" y="18358852"/>
              <a:ext cx="55660" cy="351724"/>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grpSp>
      <p:sp>
        <p:nvSpPr>
          <p:cNvPr id="178" name="Arrow: Right 177">
            <a:extLst>
              <a:ext uri="{FF2B5EF4-FFF2-40B4-BE49-F238E27FC236}">
                <a16:creationId xmlns:a16="http://schemas.microsoft.com/office/drawing/2014/main" id="{1FE33AF7-A607-4ABD-B0AF-1282E5EDAED5}"/>
              </a:ext>
            </a:extLst>
          </p:cNvPr>
          <p:cNvSpPr/>
          <p:nvPr/>
        </p:nvSpPr>
        <p:spPr>
          <a:xfrm rot="5400000">
            <a:off x="18023026" y="6271607"/>
            <a:ext cx="1747042" cy="148004"/>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79" name="Title 1">
            <a:extLst>
              <a:ext uri="{FF2B5EF4-FFF2-40B4-BE49-F238E27FC236}">
                <a16:creationId xmlns:a16="http://schemas.microsoft.com/office/drawing/2014/main" id="{9E4BFC88-15DE-4CD0-9F9E-FB855122DBD2}"/>
              </a:ext>
            </a:extLst>
          </p:cNvPr>
          <p:cNvSpPr txBox="1">
            <a:spLocks/>
          </p:cNvSpPr>
          <p:nvPr/>
        </p:nvSpPr>
        <p:spPr>
          <a:xfrm>
            <a:off x="11474985" y="11393136"/>
            <a:ext cx="1864853" cy="212602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i="1">
                <a:latin typeface="Calibri" panose="020F0502020204030204" pitchFamily="34" charset="0"/>
                <a:cs typeface="Calibri" panose="020F0502020204030204" pitchFamily="34" charset="0"/>
              </a:rPr>
              <a:t>Alert System</a:t>
            </a:r>
          </a:p>
        </p:txBody>
      </p:sp>
      <p:sp>
        <p:nvSpPr>
          <p:cNvPr id="162" name="Arrow: Right 161">
            <a:extLst>
              <a:ext uri="{FF2B5EF4-FFF2-40B4-BE49-F238E27FC236}">
                <a16:creationId xmlns:a16="http://schemas.microsoft.com/office/drawing/2014/main" id="{AF80739E-8072-4A55-A2A9-57EEF0BC3163}"/>
              </a:ext>
            </a:extLst>
          </p:cNvPr>
          <p:cNvSpPr/>
          <p:nvPr/>
        </p:nvSpPr>
        <p:spPr>
          <a:xfrm rot="5400000" flipV="1">
            <a:off x="18234398" y="10371961"/>
            <a:ext cx="1324294" cy="157221"/>
          </a:xfrm>
          <a:prstGeom prst="rightArrow">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80" name="Arrow: Right 179">
            <a:extLst>
              <a:ext uri="{FF2B5EF4-FFF2-40B4-BE49-F238E27FC236}">
                <a16:creationId xmlns:a16="http://schemas.microsoft.com/office/drawing/2014/main" id="{8B9D1A5C-FC40-495B-9416-A9995DA5DD0D}"/>
              </a:ext>
            </a:extLst>
          </p:cNvPr>
          <p:cNvSpPr/>
          <p:nvPr/>
        </p:nvSpPr>
        <p:spPr>
          <a:xfrm rot="5400000" flipV="1">
            <a:off x="18607484" y="11805743"/>
            <a:ext cx="600628" cy="157221"/>
          </a:xfrm>
          <a:prstGeom prst="rightArrow">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81" name="Arrow: Right 180">
            <a:extLst>
              <a:ext uri="{FF2B5EF4-FFF2-40B4-BE49-F238E27FC236}">
                <a16:creationId xmlns:a16="http://schemas.microsoft.com/office/drawing/2014/main" id="{136292A9-44F1-4B8E-B33B-EE1C08E9529D}"/>
              </a:ext>
            </a:extLst>
          </p:cNvPr>
          <p:cNvSpPr/>
          <p:nvPr/>
        </p:nvSpPr>
        <p:spPr>
          <a:xfrm rot="5400000" flipV="1">
            <a:off x="18607484" y="12877688"/>
            <a:ext cx="600628" cy="157221"/>
          </a:xfrm>
          <a:prstGeom prst="rightArrow">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82" name="Rectangle 181">
            <a:extLst>
              <a:ext uri="{FF2B5EF4-FFF2-40B4-BE49-F238E27FC236}">
                <a16:creationId xmlns:a16="http://schemas.microsoft.com/office/drawing/2014/main" id="{8601C7A0-8C09-4D05-921A-E1A1238D7BDA}"/>
              </a:ext>
            </a:extLst>
          </p:cNvPr>
          <p:cNvSpPr/>
          <p:nvPr/>
        </p:nvSpPr>
        <p:spPr>
          <a:xfrm rot="10800000">
            <a:off x="12617064" y="8883331"/>
            <a:ext cx="82611" cy="645928"/>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83" name="Rectangle 182">
            <a:extLst>
              <a:ext uri="{FF2B5EF4-FFF2-40B4-BE49-F238E27FC236}">
                <a16:creationId xmlns:a16="http://schemas.microsoft.com/office/drawing/2014/main" id="{851D1573-C80C-4DD6-8861-CB44675237C8}"/>
              </a:ext>
            </a:extLst>
          </p:cNvPr>
          <p:cNvSpPr/>
          <p:nvPr/>
        </p:nvSpPr>
        <p:spPr>
          <a:xfrm rot="5400000">
            <a:off x="14651965" y="7441504"/>
            <a:ext cx="78610" cy="403969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85" name="Arrow: Right 184">
            <a:extLst>
              <a:ext uri="{FF2B5EF4-FFF2-40B4-BE49-F238E27FC236}">
                <a16:creationId xmlns:a16="http://schemas.microsoft.com/office/drawing/2014/main" id="{F65A6F73-1A28-451F-A37D-4F5C010DA60E}"/>
              </a:ext>
            </a:extLst>
          </p:cNvPr>
          <p:cNvSpPr/>
          <p:nvPr/>
        </p:nvSpPr>
        <p:spPr>
          <a:xfrm>
            <a:off x="16507424" y="9387348"/>
            <a:ext cx="1314803" cy="148004"/>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131" name="Rectangle: Rounded Corners 130">
            <a:extLst>
              <a:ext uri="{FF2B5EF4-FFF2-40B4-BE49-F238E27FC236}">
                <a16:creationId xmlns:a16="http://schemas.microsoft.com/office/drawing/2014/main" id="{957A79D5-9E32-4BA4-9C6E-FC34A0FC5521}"/>
              </a:ext>
            </a:extLst>
          </p:cNvPr>
          <p:cNvSpPr/>
          <p:nvPr/>
        </p:nvSpPr>
        <p:spPr>
          <a:xfrm>
            <a:off x="16345363" y="7533694"/>
            <a:ext cx="1050689" cy="59718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Cluster based</a:t>
            </a:r>
          </a:p>
        </p:txBody>
      </p:sp>
      <p:sp>
        <p:nvSpPr>
          <p:cNvPr id="132" name="Rectangle: Rounded Corners 131">
            <a:extLst>
              <a:ext uri="{FF2B5EF4-FFF2-40B4-BE49-F238E27FC236}">
                <a16:creationId xmlns:a16="http://schemas.microsoft.com/office/drawing/2014/main" id="{86035E55-CF62-41C1-932D-366256FA7FB8}"/>
              </a:ext>
            </a:extLst>
          </p:cNvPr>
          <p:cNvSpPr/>
          <p:nvPr/>
        </p:nvSpPr>
        <p:spPr>
          <a:xfrm>
            <a:off x="17662907" y="7533694"/>
            <a:ext cx="1050689" cy="59718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PCA</a:t>
            </a:r>
          </a:p>
        </p:txBody>
      </p:sp>
      <p:sp>
        <p:nvSpPr>
          <p:cNvPr id="133" name="Rectangle: Rounded Corners 132">
            <a:extLst>
              <a:ext uri="{FF2B5EF4-FFF2-40B4-BE49-F238E27FC236}">
                <a16:creationId xmlns:a16="http://schemas.microsoft.com/office/drawing/2014/main" id="{B2F34A7C-2DB4-4373-B2A9-94E6C881E6F2}"/>
              </a:ext>
            </a:extLst>
          </p:cNvPr>
          <p:cNvSpPr/>
          <p:nvPr/>
        </p:nvSpPr>
        <p:spPr>
          <a:xfrm>
            <a:off x="18980451" y="7533694"/>
            <a:ext cx="1050689" cy="59718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Std dev</a:t>
            </a:r>
          </a:p>
        </p:txBody>
      </p:sp>
      <p:sp>
        <p:nvSpPr>
          <p:cNvPr id="134" name="Rectangle: Rounded Corners 133">
            <a:extLst>
              <a:ext uri="{FF2B5EF4-FFF2-40B4-BE49-F238E27FC236}">
                <a16:creationId xmlns:a16="http://schemas.microsoft.com/office/drawing/2014/main" id="{7F59A3B4-A739-4130-AC1F-A7995117010F}"/>
              </a:ext>
            </a:extLst>
          </p:cNvPr>
          <p:cNvSpPr/>
          <p:nvPr/>
        </p:nvSpPr>
        <p:spPr>
          <a:xfrm>
            <a:off x="20297996" y="7533694"/>
            <a:ext cx="1050689" cy="59718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latin typeface="Calibri" panose="020F0502020204030204" pitchFamily="34" charset="0"/>
                <a:cs typeface="Calibri" panose="020F0502020204030204" pitchFamily="34" charset="0"/>
              </a:rPr>
              <a:t>Other Models</a:t>
            </a:r>
          </a:p>
        </p:txBody>
      </p:sp>
      <p:sp>
        <p:nvSpPr>
          <p:cNvPr id="160" name="Rectangle 159">
            <a:extLst>
              <a:ext uri="{FF2B5EF4-FFF2-40B4-BE49-F238E27FC236}">
                <a16:creationId xmlns:a16="http://schemas.microsoft.com/office/drawing/2014/main" id="{6BCE64E0-AA97-4D59-8FD3-0261E075D38D}"/>
              </a:ext>
            </a:extLst>
          </p:cNvPr>
          <p:cNvSpPr/>
          <p:nvPr/>
        </p:nvSpPr>
        <p:spPr>
          <a:xfrm>
            <a:off x="13709052" y="14519276"/>
            <a:ext cx="3885063" cy="400110"/>
          </a:xfrm>
          <a:prstGeom prst="rect">
            <a:avLst/>
          </a:prstGeom>
        </p:spPr>
        <p:txBody>
          <a:bodyPr wrap="square">
            <a:spAutoFit/>
          </a:bodyPr>
          <a:lstStyle/>
          <a:p>
            <a:pPr algn="ctr"/>
            <a:r>
              <a:rPr lang="en-US" sz="2000">
                <a:latin typeface="Calibri" panose="020F0502020204030204" pitchFamily="34" charset="0"/>
                <a:ea typeface="Arial" charset="0"/>
                <a:cs typeface="Calibri" panose="020F0502020204030204" pitchFamily="34" charset="0"/>
              </a:rPr>
              <a:t>Fig 1. Methodology</a:t>
            </a:r>
          </a:p>
        </p:txBody>
      </p:sp>
      <p:sp>
        <p:nvSpPr>
          <p:cNvPr id="187" name="Rectangle 186">
            <a:extLst>
              <a:ext uri="{FF2B5EF4-FFF2-40B4-BE49-F238E27FC236}">
                <a16:creationId xmlns:a16="http://schemas.microsoft.com/office/drawing/2014/main" id="{BC175E01-2415-43E2-9F10-618D990324C0}"/>
              </a:ext>
            </a:extLst>
          </p:cNvPr>
          <p:cNvSpPr/>
          <p:nvPr/>
        </p:nvSpPr>
        <p:spPr>
          <a:xfrm>
            <a:off x="22378142" y="15968296"/>
            <a:ext cx="10335403" cy="400110"/>
          </a:xfrm>
          <a:prstGeom prst="rect">
            <a:avLst/>
          </a:prstGeom>
        </p:spPr>
        <p:txBody>
          <a:bodyPr wrap="square">
            <a:spAutoFit/>
          </a:bodyPr>
          <a:lstStyle/>
          <a:p>
            <a:pPr algn="ctr"/>
            <a:r>
              <a:rPr lang="en-US" sz="2000">
                <a:latin typeface="Calibri" panose="020F0502020204030204" pitchFamily="34" charset="0"/>
                <a:ea typeface="Arial" charset="0"/>
                <a:cs typeface="Calibri" panose="020F0502020204030204" pitchFamily="34" charset="0"/>
              </a:rPr>
              <a:t>Fig 3. Model Results before and after implementation of Algorithm + Rule Selection</a:t>
            </a:r>
          </a:p>
        </p:txBody>
      </p:sp>
      <p:grpSp>
        <p:nvGrpSpPr>
          <p:cNvPr id="199" name="Group 198">
            <a:extLst>
              <a:ext uri="{FF2B5EF4-FFF2-40B4-BE49-F238E27FC236}">
                <a16:creationId xmlns:a16="http://schemas.microsoft.com/office/drawing/2014/main" id="{F4C6AF01-AEA9-4C0D-9C33-5B45835AB70D}"/>
              </a:ext>
            </a:extLst>
          </p:cNvPr>
          <p:cNvGrpSpPr/>
          <p:nvPr/>
        </p:nvGrpSpPr>
        <p:grpSpPr>
          <a:xfrm>
            <a:off x="566144" y="11073439"/>
            <a:ext cx="4286500" cy="3664834"/>
            <a:chOff x="288844" y="1370078"/>
            <a:chExt cx="4286500" cy="3664834"/>
          </a:xfrm>
        </p:grpSpPr>
        <p:sp>
          <p:nvSpPr>
            <p:cNvPr id="200" name="Rectangle: Diagonal Corners Rounded 199">
              <a:extLst>
                <a:ext uri="{FF2B5EF4-FFF2-40B4-BE49-F238E27FC236}">
                  <a16:creationId xmlns:a16="http://schemas.microsoft.com/office/drawing/2014/main" id="{C793B44A-622D-49EC-9DEF-69F14CD6D6B6}"/>
                </a:ext>
              </a:extLst>
            </p:cNvPr>
            <p:cNvSpPr/>
            <p:nvPr/>
          </p:nvSpPr>
          <p:spPr>
            <a:xfrm>
              <a:off x="288844" y="1370078"/>
              <a:ext cx="4206956" cy="3664834"/>
            </a:xfrm>
            <a:prstGeom prst="round2DiagRect">
              <a:avLst/>
            </a:prstGeom>
            <a:solidFill>
              <a:srgbClr val="C00000">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grpSp>
          <p:nvGrpSpPr>
            <p:cNvPr id="201" name="Group 200">
              <a:extLst>
                <a:ext uri="{FF2B5EF4-FFF2-40B4-BE49-F238E27FC236}">
                  <a16:creationId xmlns:a16="http://schemas.microsoft.com/office/drawing/2014/main" id="{0A10452C-7F90-46C2-A94A-154A639D86E0}"/>
                </a:ext>
              </a:extLst>
            </p:cNvPr>
            <p:cNvGrpSpPr/>
            <p:nvPr/>
          </p:nvGrpSpPr>
          <p:grpSpPr>
            <a:xfrm>
              <a:off x="641099" y="1703279"/>
              <a:ext cx="3930901" cy="579750"/>
              <a:chOff x="641099" y="1625306"/>
              <a:chExt cx="3930901" cy="579750"/>
            </a:xfrm>
          </p:grpSpPr>
          <p:pic>
            <p:nvPicPr>
              <p:cNvPr id="208" name="Picture 207" descr="Icon&#10;&#10;Description automatically generated">
                <a:extLst>
                  <a:ext uri="{FF2B5EF4-FFF2-40B4-BE49-F238E27FC236}">
                    <a16:creationId xmlns:a16="http://schemas.microsoft.com/office/drawing/2014/main" id="{CBE26ABF-1351-47E5-BC3E-3A83E1128A5E}"/>
                  </a:ext>
                </a:extLst>
              </p:cNvPr>
              <p:cNvPicPr>
                <a:picLocks noChangeAspect="1"/>
              </p:cNvPicPr>
              <p:nvPr/>
            </p:nvPicPr>
            <p:blipFill>
              <a:blip r:embed="rId12"/>
              <a:stretch>
                <a:fillRect/>
              </a:stretch>
            </p:blipFill>
            <p:spPr>
              <a:xfrm>
                <a:off x="641099" y="1625306"/>
                <a:ext cx="579750" cy="579750"/>
              </a:xfrm>
              <a:prstGeom prst="rect">
                <a:avLst/>
              </a:prstGeom>
            </p:spPr>
          </p:pic>
          <p:sp>
            <p:nvSpPr>
              <p:cNvPr id="209" name="Title 1">
                <a:extLst>
                  <a:ext uri="{FF2B5EF4-FFF2-40B4-BE49-F238E27FC236}">
                    <a16:creationId xmlns:a16="http://schemas.microsoft.com/office/drawing/2014/main" id="{8E4AD9EE-DFBE-45BF-92BB-99B1FEC70C1C}"/>
                  </a:ext>
                </a:extLst>
              </p:cNvPr>
              <p:cNvSpPr txBox="1">
                <a:spLocks/>
              </p:cNvSpPr>
              <p:nvPr/>
            </p:nvSpPr>
            <p:spPr>
              <a:xfrm>
                <a:off x="1279670" y="1722941"/>
                <a:ext cx="3292330"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2000">
                    <a:latin typeface="Calibri" panose="020F0502020204030204" pitchFamily="34" charset="0"/>
                    <a:cs typeface="Calibri" panose="020F0502020204030204" pitchFamily="34" charset="0"/>
                  </a:rPr>
                  <a:t>Low visibility in changing demand. </a:t>
                </a:r>
              </a:p>
            </p:txBody>
          </p:sp>
        </p:grpSp>
        <p:grpSp>
          <p:nvGrpSpPr>
            <p:cNvPr id="202" name="Group 201">
              <a:extLst>
                <a:ext uri="{FF2B5EF4-FFF2-40B4-BE49-F238E27FC236}">
                  <a16:creationId xmlns:a16="http://schemas.microsoft.com/office/drawing/2014/main" id="{3A5A59B4-AD07-41C3-82DB-9B1324769097}"/>
                </a:ext>
              </a:extLst>
            </p:cNvPr>
            <p:cNvGrpSpPr/>
            <p:nvPr/>
          </p:nvGrpSpPr>
          <p:grpSpPr>
            <a:xfrm>
              <a:off x="580482" y="2696127"/>
              <a:ext cx="3988175" cy="692502"/>
              <a:chOff x="580482" y="2654987"/>
              <a:chExt cx="3988175" cy="692502"/>
            </a:xfrm>
          </p:grpSpPr>
          <p:pic>
            <p:nvPicPr>
              <p:cNvPr id="206" name="Picture 205" descr="Icon&#10;&#10;Description automatically generated">
                <a:extLst>
                  <a:ext uri="{FF2B5EF4-FFF2-40B4-BE49-F238E27FC236}">
                    <a16:creationId xmlns:a16="http://schemas.microsoft.com/office/drawing/2014/main" id="{A7FD9AE1-6C6D-4304-B89A-A59FECD5F0EC}"/>
                  </a:ext>
                </a:extLst>
              </p:cNvPr>
              <p:cNvPicPr>
                <a:picLocks noChangeAspect="1"/>
              </p:cNvPicPr>
              <p:nvPr/>
            </p:nvPicPr>
            <p:blipFill>
              <a:blip r:embed="rId13"/>
              <a:stretch>
                <a:fillRect/>
              </a:stretch>
            </p:blipFill>
            <p:spPr>
              <a:xfrm>
                <a:off x="580482" y="2654987"/>
                <a:ext cx="692502" cy="692502"/>
              </a:xfrm>
              <a:prstGeom prst="rect">
                <a:avLst/>
              </a:prstGeom>
            </p:spPr>
          </p:pic>
          <p:sp>
            <p:nvSpPr>
              <p:cNvPr id="207" name="Title 1">
                <a:extLst>
                  <a:ext uri="{FF2B5EF4-FFF2-40B4-BE49-F238E27FC236}">
                    <a16:creationId xmlns:a16="http://schemas.microsoft.com/office/drawing/2014/main" id="{04E54B59-7F5E-465B-8967-69A8D77FC36D}"/>
                  </a:ext>
                </a:extLst>
              </p:cNvPr>
              <p:cNvSpPr txBox="1">
                <a:spLocks/>
              </p:cNvSpPr>
              <p:nvPr/>
            </p:nvSpPr>
            <p:spPr>
              <a:xfrm>
                <a:off x="1276327" y="2813003"/>
                <a:ext cx="3292330"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2000">
                    <a:latin typeface="Calibri" panose="020F0502020204030204" pitchFamily="34" charset="0"/>
                    <a:cs typeface="Calibri" panose="020F0502020204030204" pitchFamily="34" charset="0"/>
                  </a:rPr>
                  <a:t>Affects the price mark-up; reduced revenue optimization.</a:t>
                </a:r>
              </a:p>
            </p:txBody>
          </p:sp>
        </p:grpSp>
        <p:grpSp>
          <p:nvGrpSpPr>
            <p:cNvPr id="203" name="Group 202">
              <a:extLst>
                <a:ext uri="{FF2B5EF4-FFF2-40B4-BE49-F238E27FC236}">
                  <a16:creationId xmlns:a16="http://schemas.microsoft.com/office/drawing/2014/main" id="{CC9C355D-F8B3-4229-BBF0-8CCBA769B198}"/>
                </a:ext>
              </a:extLst>
            </p:cNvPr>
            <p:cNvGrpSpPr/>
            <p:nvPr/>
          </p:nvGrpSpPr>
          <p:grpSpPr>
            <a:xfrm>
              <a:off x="582290" y="3847543"/>
              <a:ext cx="3993054" cy="624524"/>
              <a:chOff x="582290" y="3691955"/>
              <a:chExt cx="3993054" cy="624524"/>
            </a:xfrm>
          </p:grpSpPr>
          <p:pic>
            <p:nvPicPr>
              <p:cNvPr id="204" name="Picture 203" descr="Icon&#10;&#10;Description automatically generated">
                <a:extLst>
                  <a:ext uri="{FF2B5EF4-FFF2-40B4-BE49-F238E27FC236}">
                    <a16:creationId xmlns:a16="http://schemas.microsoft.com/office/drawing/2014/main" id="{FAAE7418-D567-4FE9-931C-6F0C67645C84}"/>
                  </a:ext>
                </a:extLst>
              </p:cNvPr>
              <p:cNvPicPr>
                <a:picLocks noChangeAspect="1"/>
              </p:cNvPicPr>
              <p:nvPr/>
            </p:nvPicPr>
            <p:blipFill>
              <a:blip r:embed="rId14"/>
              <a:stretch>
                <a:fillRect/>
              </a:stretch>
            </p:blipFill>
            <p:spPr>
              <a:xfrm>
                <a:off x="582290" y="3691955"/>
                <a:ext cx="624524" cy="624524"/>
              </a:xfrm>
              <a:prstGeom prst="rect">
                <a:avLst/>
              </a:prstGeom>
            </p:spPr>
          </p:pic>
          <p:sp>
            <p:nvSpPr>
              <p:cNvPr id="205" name="Title 1">
                <a:extLst>
                  <a:ext uri="{FF2B5EF4-FFF2-40B4-BE49-F238E27FC236}">
                    <a16:creationId xmlns:a16="http://schemas.microsoft.com/office/drawing/2014/main" id="{E68A2583-13F8-4130-A3B9-AB050C8A1DEE}"/>
                  </a:ext>
                </a:extLst>
              </p:cNvPr>
              <p:cNvSpPr txBox="1">
                <a:spLocks/>
              </p:cNvSpPr>
              <p:nvPr/>
            </p:nvSpPr>
            <p:spPr>
              <a:xfrm>
                <a:off x="1283014" y="3903064"/>
                <a:ext cx="3292330"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2000">
                    <a:latin typeface="Calibri" panose="020F0502020204030204" pitchFamily="34" charset="0"/>
                    <a:cs typeface="Calibri" panose="020F0502020204030204" pitchFamily="34" charset="0"/>
                  </a:rPr>
                  <a:t>Noncompetitive pricing increases the likelihood of booking a competitor's property.</a:t>
                </a:r>
              </a:p>
            </p:txBody>
          </p:sp>
        </p:grpSp>
      </p:grpSp>
      <p:grpSp>
        <p:nvGrpSpPr>
          <p:cNvPr id="210" name="Group 209">
            <a:extLst>
              <a:ext uri="{FF2B5EF4-FFF2-40B4-BE49-F238E27FC236}">
                <a16:creationId xmlns:a16="http://schemas.microsoft.com/office/drawing/2014/main" id="{7D198668-0EE0-4EBC-BD6D-60AA311998EE}"/>
              </a:ext>
            </a:extLst>
          </p:cNvPr>
          <p:cNvGrpSpPr/>
          <p:nvPr/>
        </p:nvGrpSpPr>
        <p:grpSpPr>
          <a:xfrm>
            <a:off x="4891368" y="11048251"/>
            <a:ext cx="4330532" cy="3664834"/>
            <a:chOff x="4689643" y="1384509"/>
            <a:chExt cx="4330532" cy="3664834"/>
          </a:xfrm>
        </p:grpSpPr>
        <p:sp>
          <p:nvSpPr>
            <p:cNvPr id="211" name="Rectangle: Diagonal Corners Rounded 210">
              <a:extLst>
                <a:ext uri="{FF2B5EF4-FFF2-40B4-BE49-F238E27FC236}">
                  <a16:creationId xmlns:a16="http://schemas.microsoft.com/office/drawing/2014/main" id="{5FD36092-8668-4591-8AC1-CD5144377C4F}"/>
                </a:ext>
              </a:extLst>
            </p:cNvPr>
            <p:cNvSpPr/>
            <p:nvPr/>
          </p:nvSpPr>
          <p:spPr>
            <a:xfrm>
              <a:off x="4689643" y="1384509"/>
              <a:ext cx="4330529" cy="3664834"/>
            </a:xfrm>
            <a:prstGeom prst="round2DiagRect">
              <a:avLst/>
            </a:prstGeom>
            <a:solidFill>
              <a:schemeClr val="accent3">
                <a:lumMod val="60000"/>
                <a:lumOff val="40000"/>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a:latin typeface="Calibri" panose="020F0502020204030204" pitchFamily="34" charset="0"/>
                <a:cs typeface="Calibri" panose="020F0502020204030204" pitchFamily="34" charset="0"/>
              </a:endParaRPr>
            </a:p>
          </p:txBody>
        </p:sp>
        <p:pic>
          <p:nvPicPr>
            <p:cNvPr id="212" name="Picture 211" descr="Icon&#10;&#10;Description automatically generated">
              <a:extLst>
                <a:ext uri="{FF2B5EF4-FFF2-40B4-BE49-F238E27FC236}">
                  <a16:creationId xmlns:a16="http://schemas.microsoft.com/office/drawing/2014/main" id="{0725BFE5-3DD4-4320-B076-CD64041333E7}"/>
                </a:ext>
              </a:extLst>
            </p:cNvPr>
            <p:cNvPicPr>
              <a:picLocks noChangeAspect="1"/>
            </p:cNvPicPr>
            <p:nvPr/>
          </p:nvPicPr>
          <p:blipFill>
            <a:blip r:embed="rId15"/>
            <a:stretch>
              <a:fillRect/>
            </a:stretch>
          </p:blipFill>
          <p:spPr>
            <a:xfrm>
              <a:off x="5149315" y="2730116"/>
              <a:ext cx="624525" cy="624525"/>
            </a:xfrm>
            <a:prstGeom prst="rect">
              <a:avLst/>
            </a:prstGeom>
          </p:spPr>
        </p:pic>
        <p:pic>
          <p:nvPicPr>
            <p:cNvPr id="213" name="Picture 212" descr="Icon&#10;&#10;Description automatically generated">
              <a:extLst>
                <a:ext uri="{FF2B5EF4-FFF2-40B4-BE49-F238E27FC236}">
                  <a16:creationId xmlns:a16="http://schemas.microsoft.com/office/drawing/2014/main" id="{30E3C002-D81E-4942-9EAD-F3B2F856B055}"/>
                </a:ext>
              </a:extLst>
            </p:cNvPr>
            <p:cNvPicPr>
              <a:picLocks noChangeAspect="1"/>
            </p:cNvPicPr>
            <p:nvPr/>
          </p:nvPicPr>
          <p:blipFill>
            <a:blip r:embed="rId16"/>
            <a:stretch>
              <a:fillRect/>
            </a:stretch>
          </p:blipFill>
          <p:spPr>
            <a:xfrm>
              <a:off x="5149315" y="1680892"/>
              <a:ext cx="624524" cy="624524"/>
            </a:xfrm>
            <a:prstGeom prst="rect">
              <a:avLst/>
            </a:prstGeom>
          </p:spPr>
        </p:pic>
        <p:sp>
          <p:nvSpPr>
            <p:cNvPr id="214" name="Title 1">
              <a:extLst>
                <a:ext uri="{FF2B5EF4-FFF2-40B4-BE49-F238E27FC236}">
                  <a16:creationId xmlns:a16="http://schemas.microsoft.com/office/drawing/2014/main" id="{321773D5-CA08-431C-A809-E1965F3ADE2D}"/>
                </a:ext>
              </a:extLst>
            </p:cNvPr>
            <p:cNvSpPr txBox="1">
              <a:spLocks/>
            </p:cNvSpPr>
            <p:nvPr/>
          </p:nvSpPr>
          <p:spPr>
            <a:xfrm>
              <a:off x="6023532" y="1825830"/>
              <a:ext cx="2996643"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1800">
                  <a:latin typeface="Calibri" panose="020F0502020204030204" pitchFamily="34" charset="0"/>
                  <a:cs typeface="Calibri" panose="020F0502020204030204" pitchFamily="34" charset="0"/>
                </a:rPr>
                <a:t>Monitor the demand in real-time. </a:t>
              </a:r>
            </a:p>
          </p:txBody>
        </p:sp>
        <p:sp>
          <p:nvSpPr>
            <p:cNvPr id="215" name="Title 1">
              <a:extLst>
                <a:ext uri="{FF2B5EF4-FFF2-40B4-BE49-F238E27FC236}">
                  <a16:creationId xmlns:a16="http://schemas.microsoft.com/office/drawing/2014/main" id="{00F67109-1ED5-4205-89C5-E99AD98E6DB5}"/>
                </a:ext>
              </a:extLst>
            </p:cNvPr>
            <p:cNvSpPr txBox="1">
              <a:spLocks/>
            </p:cNvSpPr>
            <p:nvPr/>
          </p:nvSpPr>
          <p:spPr>
            <a:xfrm>
              <a:off x="6023529" y="2875054"/>
              <a:ext cx="2996643"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1800">
                  <a:latin typeface="Calibri" panose="020F0502020204030204" pitchFamily="34" charset="0"/>
                  <a:cs typeface="Calibri" panose="020F0502020204030204" pitchFamily="34" charset="0"/>
                </a:rPr>
                <a:t>Build an alert mechanism in real-time anomalies in demand.</a:t>
              </a:r>
            </a:p>
          </p:txBody>
        </p:sp>
        <p:sp>
          <p:nvSpPr>
            <p:cNvPr id="216" name="Title 1">
              <a:extLst>
                <a:ext uri="{FF2B5EF4-FFF2-40B4-BE49-F238E27FC236}">
                  <a16:creationId xmlns:a16="http://schemas.microsoft.com/office/drawing/2014/main" id="{A28529A5-C770-40DC-8B36-2E9FE9E956B4}"/>
                </a:ext>
              </a:extLst>
            </p:cNvPr>
            <p:cNvSpPr txBox="1">
              <a:spLocks/>
            </p:cNvSpPr>
            <p:nvPr/>
          </p:nvSpPr>
          <p:spPr>
            <a:xfrm>
              <a:off x="6023529" y="3992481"/>
              <a:ext cx="2996643"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pPr algn="l"/>
              <a:r>
                <a:rPr lang="en-US" sz="1800">
                  <a:latin typeface="Calibri" panose="020F0502020204030204" pitchFamily="34" charset="0"/>
                  <a:cs typeface="Calibri" panose="020F0502020204030204" pitchFamily="34" charset="0"/>
                </a:rPr>
                <a:t>Utilization by Property managers in decisions of price for the property.</a:t>
              </a:r>
            </a:p>
          </p:txBody>
        </p:sp>
        <p:pic>
          <p:nvPicPr>
            <p:cNvPr id="217" name="Picture 216" descr="Icon&#10;&#10;Description automatically generated">
              <a:extLst>
                <a:ext uri="{FF2B5EF4-FFF2-40B4-BE49-F238E27FC236}">
                  <a16:creationId xmlns:a16="http://schemas.microsoft.com/office/drawing/2014/main" id="{EAD68811-F316-46AD-A133-AA386A2EC658}"/>
                </a:ext>
              </a:extLst>
            </p:cNvPr>
            <p:cNvPicPr>
              <a:picLocks noChangeAspect="1"/>
            </p:cNvPicPr>
            <p:nvPr/>
          </p:nvPicPr>
          <p:blipFill>
            <a:blip r:embed="rId17"/>
            <a:stretch>
              <a:fillRect/>
            </a:stretch>
          </p:blipFill>
          <p:spPr>
            <a:xfrm>
              <a:off x="5149315" y="3848909"/>
              <a:ext cx="621792" cy="621792"/>
            </a:xfrm>
            <a:prstGeom prst="rect">
              <a:avLst/>
            </a:prstGeom>
          </p:spPr>
        </p:pic>
      </p:grpSp>
      <p:sp>
        <p:nvSpPr>
          <p:cNvPr id="218" name="Title 1">
            <a:extLst>
              <a:ext uri="{FF2B5EF4-FFF2-40B4-BE49-F238E27FC236}">
                <a16:creationId xmlns:a16="http://schemas.microsoft.com/office/drawing/2014/main" id="{243FED60-7DC7-4DE5-AC3F-3A5C22B58D80}"/>
              </a:ext>
            </a:extLst>
          </p:cNvPr>
          <p:cNvSpPr txBox="1">
            <a:spLocks/>
          </p:cNvSpPr>
          <p:nvPr/>
        </p:nvSpPr>
        <p:spPr>
          <a:xfrm>
            <a:off x="1853781" y="10686273"/>
            <a:ext cx="1803047"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a:solidFill>
                  <a:srgbClr val="D61440"/>
                </a:solidFill>
                <a:latin typeface="Calibri" panose="020F0502020204030204" pitchFamily="34" charset="0"/>
                <a:cs typeface="Calibri" panose="020F0502020204030204" pitchFamily="34" charset="0"/>
              </a:rPr>
              <a:t>Issues Today</a:t>
            </a:r>
          </a:p>
        </p:txBody>
      </p:sp>
      <p:sp>
        <p:nvSpPr>
          <p:cNvPr id="219" name="Title 1">
            <a:extLst>
              <a:ext uri="{FF2B5EF4-FFF2-40B4-BE49-F238E27FC236}">
                <a16:creationId xmlns:a16="http://schemas.microsoft.com/office/drawing/2014/main" id="{9F0118C2-7FEB-431D-AA0F-6A542D22D6DC}"/>
              </a:ext>
            </a:extLst>
          </p:cNvPr>
          <p:cNvSpPr txBox="1">
            <a:spLocks/>
          </p:cNvSpPr>
          <p:nvPr/>
        </p:nvSpPr>
        <p:spPr>
          <a:xfrm>
            <a:off x="6434027" y="10686273"/>
            <a:ext cx="1803047" cy="33464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000" kern="1200">
                <a:solidFill>
                  <a:schemeClr val="tx1"/>
                </a:solidFill>
                <a:latin typeface="Arial"/>
                <a:ea typeface="+mj-ea"/>
                <a:cs typeface="Arial"/>
              </a:defRPr>
            </a:lvl1pPr>
          </a:lstStyle>
          <a:p>
            <a:r>
              <a:rPr lang="en-US" sz="2000" b="1">
                <a:solidFill>
                  <a:srgbClr val="D61440"/>
                </a:solidFill>
                <a:latin typeface="Calibri" panose="020F0502020204030204" pitchFamily="34" charset="0"/>
                <a:cs typeface="Calibri" panose="020F0502020204030204" pitchFamily="34" charset="0"/>
              </a:rPr>
              <a:t>Solution</a:t>
            </a:r>
          </a:p>
        </p:txBody>
      </p:sp>
      <p:sp>
        <p:nvSpPr>
          <p:cNvPr id="221" name="TextBox 220">
            <a:extLst>
              <a:ext uri="{FF2B5EF4-FFF2-40B4-BE49-F238E27FC236}">
                <a16:creationId xmlns:a16="http://schemas.microsoft.com/office/drawing/2014/main" id="{3DEEF0D0-F72A-4A4E-80E7-4C4B451D8331}"/>
              </a:ext>
            </a:extLst>
          </p:cNvPr>
          <p:cNvSpPr txBox="1"/>
          <p:nvPr/>
        </p:nvSpPr>
        <p:spPr>
          <a:xfrm>
            <a:off x="10225547" y="4685949"/>
            <a:ext cx="1483965" cy="537917"/>
          </a:xfrm>
          <a:prstGeom prst="rect">
            <a:avLst/>
          </a:prstGeom>
          <a:noFill/>
        </p:spPr>
        <p:txBody>
          <a:bodyPr wrap="square" anchor="t">
            <a:noAutofit/>
          </a:bodyPr>
          <a:lstStyle/>
          <a:p>
            <a:pPr algn="r">
              <a:spcAft>
                <a:spcPts val="800"/>
              </a:spcAft>
            </a:pPr>
            <a:r>
              <a:rPr lang="en-US" sz="2000">
                <a:effectLst/>
                <a:latin typeface="Calibri" panose="020F0502020204030204" pitchFamily="34" charset="0"/>
                <a:ea typeface="Calibri" panose="020F0502020204030204" pitchFamily="34" charset="0"/>
                <a:cs typeface="Times New Roman" panose="02020603050405020304" pitchFamily="18" charset="0"/>
              </a:rPr>
              <a:t>Data from past 3 years - 2019 to 2021</a:t>
            </a:r>
          </a:p>
        </p:txBody>
      </p:sp>
      <p:sp>
        <p:nvSpPr>
          <p:cNvPr id="222" name="TextBox 221">
            <a:extLst>
              <a:ext uri="{FF2B5EF4-FFF2-40B4-BE49-F238E27FC236}">
                <a16:creationId xmlns:a16="http://schemas.microsoft.com/office/drawing/2014/main" id="{6731251D-B217-4C2B-97C8-56D78C14E0A6}"/>
              </a:ext>
            </a:extLst>
          </p:cNvPr>
          <p:cNvSpPr txBox="1"/>
          <p:nvPr/>
        </p:nvSpPr>
        <p:spPr>
          <a:xfrm>
            <a:off x="20408686" y="4623428"/>
            <a:ext cx="1247529" cy="537917"/>
          </a:xfrm>
          <a:prstGeom prst="rect">
            <a:avLst/>
          </a:prstGeom>
          <a:noFill/>
        </p:spPr>
        <p:txBody>
          <a:bodyPr wrap="square" anchor="t">
            <a:noAutofit/>
          </a:bodyPr>
          <a:lstStyle/>
          <a:p>
            <a:pPr>
              <a:spcAft>
                <a:spcPts val="800"/>
              </a:spcAft>
            </a:pPr>
            <a:r>
              <a:rPr lang="en-US" sz="2000">
                <a:effectLst/>
                <a:latin typeface="Calibri" panose="020F0502020204030204" pitchFamily="34" charset="0"/>
                <a:ea typeface="Calibri" panose="020F0502020204030204" pitchFamily="34" charset="0"/>
                <a:cs typeface="Times New Roman" panose="02020603050405020304" pitchFamily="18" charset="0"/>
              </a:rPr>
              <a:t>Property code, stay date, nights, 24-hour lag, 48-hour lag</a:t>
            </a:r>
          </a:p>
        </p:txBody>
      </p:sp>
      <p:sp>
        <p:nvSpPr>
          <p:cNvPr id="223" name="TextBox 222">
            <a:extLst>
              <a:ext uri="{FF2B5EF4-FFF2-40B4-BE49-F238E27FC236}">
                <a16:creationId xmlns:a16="http://schemas.microsoft.com/office/drawing/2014/main" id="{4B1FB252-0859-40B6-AD1D-2CE37F4C1C56}"/>
              </a:ext>
            </a:extLst>
          </p:cNvPr>
          <p:cNvSpPr txBox="1"/>
          <p:nvPr/>
        </p:nvSpPr>
        <p:spPr>
          <a:xfrm>
            <a:off x="10149497" y="8028686"/>
            <a:ext cx="2021845" cy="537917"/>
          </a:xfrm>
          <a:prstGeom prst="rect">
            <a:avLst/>
          </a:prstGeom>
          <a:noFill/>
        </p:spPr>
        <p:txBody>
          <a:bodyPr wrap="square" anchor="t">
            <a:noAutofit/>
          </a:bodyPr>
          <a:lstStyle/>
          <a:p>
            <a:pPr>
              <a:spcAft>
                <a:spcPts val="800"/>
              </a:spcAft>
            </a:pPr>
            <a:r>
              <a:rPr lang="en-US" sz="2000">
                <a:effectLst/>
                <a:latin typeface="Calibri" panose="020F0502020204030204" pitchFamily="34" charset="0"/>
                <a:ea typeface="Calibri" panose="020F0502020204030204" pitchFamily="34" charset="0"/>
                <a:cs typeface="Times New Roman" panose="02020603050405020304" pitchFamily="18" charset="0"/>
              </a:rPr>
              <a:t>Validation of other properties from hotel chain</a:t>
            </a:r>
          </a:p>
        </p:txBody>
      </p:sp>
      <p:sp>
        <p:nvSpPr>
          <p:cNvPr id="224" name="TextBox 223">
            <a:extLst>
              <a:ext uri="{FF2B5EF4-FFF2-40B4-BE49-F238E27FC236}">
                <a16:creationId xmlns:a16="http://schemas.microsoft.com/office/drawing/2014/main" id="{2D2ED41D-684F-4F02-975D-3838473FAED1}"/>
              </a:ext>
            </a:extLst>
          </p:cNvPr>
          <p:cNvSpPr txBox="1"/>
          <p:nvPr/>
        </p:nvSpPr>
        <p:spPr>
          <a:xfrm>
            <a:off x="19938185" y="9093848"/>
            <a:ext cx="1704619" cy="537917"/>
          </a:xfrm>
          <a:prstGeom prst="rect">
            <a:avLst/>
          </a:prstGeom>
          <a:noFill/>
        </p:spPr>
        <p:txBody>
          <a:bodyPr wrap="square" anchor="t">
            <a:noAutofit/>
          </a:bodyPr>
          <a:lstStyle/>
          <a:p>
            <a:pPr>
              <a:spcAft>
                <a:spcPts val="800"/>
              </a:spcAft>
            </a:pPr>
            <a:r>
              <a:rPr lang="en-US" sz="2000">
                <a:latin typeface="Calibri" panose="020F0502020204030204" pitchFamily="34" charset="0"/>
                <a:ea typeface="Calibri" panose="020F0502020204030204" pitchFamily="34" charset="0"/>
                <a:cs typeface="Times New Roman" panose="02020603050405020304" pitchFamily="18" charset="0"/>
              </a:rPr>
              <a:t>Best algorithm depends on property typ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5" name="TextBox 224">
            <a:extLst>
              <a:ext uri="{FF2B5EF4-FFF2-40B4-BE49-F238E27FC236}">
                <a16:creationId xmlns:a16="http://schemas.microsoft.com/office/drawing/2014/main" id="{100BC8D6-6911-4007-8C7A-311B1FA6FD36}"/>
              </a:ext>
            </a:extLst>
          </p:cNvPr>
          <p:cNvSpPr txBox="1"/>
          <p:nvPr/>
        </p:nvSpPr>
        <p:spPr>
          <a:xfrm>
            <a:off x="13373827" y="11019899"/>
            <a:ext cx="4177052" cy="537917"/>
          </a:xfrm>
          <a:prstGeom prst="rect">
            <a:avLst/>
          </a:prstGeom>
          <a:noFill/>
        </p:spPr>
        <p:txBody>
          <a:bodyPr wrap="square" anchor="t">
            <a:noAutofit/>
          </a:bodyPr>
          <a:lstStyle/>
          <a:p>
            <a:pPr>
              <a:spcAft>
                <a:spcPts val="800"/>
              </a:spcAft>
            </a:pPr>
            <a:r>
              <a:rPr lang="en-US" sz="2000">
                <a:latin typeface="Calibri" panose="020F0502020204030204" pitchFamily="34" charset="0"/>
                <a:ea typeface="Calibri" panose="020F0502020204030204" pitchFamily="34" charset="0"/>
                <a:cs typeface="Times New Roman" panose="02020603050405020304" pitchFamily="18" charset="0"/>
              </a:rPr>
              <a:t>Detection of anomaly and classification of its typ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6" name="TextBox 225">
            <a:extLst>
              <a:ext uri="{FF2B5EF4-FFF2-40B4-BE49-F238E27FC236}">
                <a16:creationId xmlns:a16="http://schemas.microsoft.com/office/drawing/2014/main" id="{56C3C49E-30FE-45E8-8117-D47C73223DE2}"/>
              </a:ext>
            </a:extLst>
          </p:cNvPr>
          <p:cNvSpPr txBox="1"/>
          <p:nvPr/>
        </p:nvSpPr>
        <p:spPr>
          <a:xfrm>
            <a:off x="13364441" y="12069989"/>
            <a:ext cx="4273509" cy="537917"/>
          </a:xfrm>
          <a:prstGeom prst="rect">
            <a:avLst/>
          </a:prstGeom>
          <a:noFill/>
        </p:spPr>
        <p:txBody>
          <a:bodyPr wrap="square" anchor="t">
            <a:noAutofit/>
          </a:bodyPr>
          <a:lstStyle/>
          <a:p>
            <a:pPr>
              <a:spcAft>
                <a:spcPts val="800"/>
              </a:spcAft>
            </a:pPr>
            <a:r>
              <a:rPr lang="en-US" sz="2000">
                <a:latin typeface="Calibri" panose="020F0502020204030204" pitchFamily="34" charset="0"/>
                <a:ea typeface="Calibri" panose="020F0502020204030204" pitchFamily="34" charset="0"/>
                <a:cs typeface="Times New Roman" panose="02020603050405020304" pitchFamily="18" charset="0"/>
              </a:rPr>
              <a:t>Details like anomaly date, # of bookings, anomaly type, past booking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7" name="TextBox 226">
            <a:extLst>
              <a:ext uri="{FF2B5EF4-FFF2-40B4-BE49-F238E27FC236}">
                <a16:creationId xmlns:a16="http://schemas.microsoft.com/office/drawing/2014/main" id="{38E11162-BBD6-41AB-B4AA-BA5F51CF3D43}"/>
              </a:ext>
            </a:extLst>
          </p:cNvPr>
          <p:cNvSpPr txBox="1"/>
          <p:nvPr/>
        </p:nvSpPr>
        <p:spPr>
          <a:xfrm>
            <a:off x="13373827" y="13121907"/>
            <a:ext cx="4177052" cy="537917"/>
          </a:xfrm>
          <a:prstGeom prst="rect">
            <a:avLst/>
          </a:prstGeom>
          <a:noFill/>
        </p:spPr>
        <p:txBody>
          <a:bodyPr wrap="square" anchor="t">
            <a:noAutofit/>
          </a:bodyPr>
          <a:lstStyle/>
          <a:p>
            <a:pPr>
              <a:spcAft>
                <a:spcPts val="800"/>
              </a:spcAft>
            </a:pPr>
            <a:r>
              <a:rPr lang="en-US" sz="2000">
                <a:latin typeface="Calibri" panose="020F0502020204030204" pitchFamily="34" charset="0"/>
                <a:ea typeface="Calibri" panose="020F0502020204030204" pitchFamily="34" charset="0"/>
                <a:cs typeface="Times New Roman" panose="02020603050405020304" pitchFamily="18" charset="0"/>
              </a:rPr>
              <a:t>Alerts sent to revenue managers with their names and email ids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8" name="Rectangle: Rounded Corners 26">
            <a:extLst>
              <a:ext uri="{FF2B5EF4-FFF2-40B4-BE49-F238E27FC236}">
                <a16:creationId xmlns:a16="http://schemas.microsoft.com/office/drawing/2014/main" id="{F9110184-FB84-44C5-848E-D9694AF20B84}"/>
              </a:ext>
            </a:extLst>
          </p:cNvPr>
          <p:cNvSpPr/>
          <p:nvPr/>
        </p:nvSpPr>
        <p:spPr>
          <a:xfrm>
            <a:off x="23181161" y="8030044"/>
            <a:ext cx="4389120" cy="1371600"/>
          </a:xfrm>
          <a:prstGeom prst="round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Algorithm Selection: </a:t>
            </a:r>
          </a:p>
          <a:p>
            <a:pPr algn="ctr"/>
            <a:endParaRPr lang="en-US" sz="2000">
              <a:solidFill>
                <a:schemeClr val="bg1"/>
              </a:solidFill>
              <a:latin typeface="Calibri" panose="020F0502020204030204" pitchFamily="34" charset="0"/>
              <a:cs typeface="Calibri" panose="020F0502020204030204" pitchFamily="34" charset="0"/>
            </a:endParaRPr>
          </a:p>
          <a:p>
            <a:pPr algn="ctr"/>
            <a:r>
              <a:rPr lang="en-US" sz="2000">
                <a:solidFill>
                  <a:schemeClr val="bg1"/>
                </a:solidFill>
                <a:latin typeface="Calibri" panose="020F0502020204030204" pitchFamily="34" charset="0"/>
                <a:cs typeface="Calibri" panose="020F0502020204030204" pitchFamily="34" charset="0"/>
              </a:rPr>
              <a:t>Clustering Based Anomaly Detection</a:t>
            </a:r>
          </a:p>
        </p:txBody>
      </p:sp>
      <p:sp>
        <p:nvSpPr>
          <p:cNvPr id="229" name="Rectangle: Rounded Corners 27">
            <a:extLst>
              <a:ext uri="{FF2B5EF4-FFF2-40B4-BE49-F238E27FC236}">
                <a16:creationId xmlns:a16="http://schemas.microsoft.com/office/drawing/2014/main" id="{B61968C3-196E-4962-A872-4BC4BA09CC64}"/>
              </a:ext>
            </a:extLst>
          </p:cNvPr>
          <p:cNvSpPr/>
          <p:nvPr/>
        </p:nvSpPr>
        <p:spPr>
          <a:xfrm>
            <a:off x="23181161" y="10203240"/>
            <a:ext cx="4389120" cy="1371600"/>
          </a:xfrm>
          <a:prstGeom prst="round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latin typeface="Calibri" panose="020F0502020204030204" pitchFamily="34" charset="0"/>
                <a:cs typeface="Calibri" panose="020F0502020204030204" pitchFamily="34" charset="0"/>
              </a:rPr>
              <a:t>Rule Selection: </a:t>
            </a:r>
            <a:endParaRPr lang="en-US" sz="2000" dirty="0">
              <a:solidFill>
                <a:schemeClr val="bg1"/>
              </a:solidFill>
              <a:latin typeface="Calibri" panose="020F0502020204030204" pitchFamily="34" charset="0"/>
              <a:cs typeface="Calibri" panose="020F0502020204030204" pitchFamily="34" charset="0"/>
            </a:endParaRPr>
          </a:p>
          <a:p>
            <a:pPr algn="ctr"/>
            <a:r>
              <a:rPr lang="en-US" sz="2000" dirty="0">
                <a:solidFill>
                  <a:schemeClr val="bg1"/>
                </a:solidFill>
                <a:latin typeface="Calibri" panose="020F0502020204030204" pitchFamily="34" charset="0"/>
                <a:cs typeface="Calibri" panose="020F0502020204030204" pitchFamily="34" charset="0"/>
              </a:rPr>
              <a:t>Points &gt;= 3 </a:t>
            </a:r>
            <a:r>
              <a:rPr lang="en-US" sz="2000" dirty="0" err="1">
                <a:solidFill>
                  <a:schemeClr val="bg1"/>
                </a:solidFill>
                <a:latin typeface="Calibri" panose="020F0502020204030204" pitchFamily="34" charset="0"/>
                <a:cs typeface="Calibri" panose="020F0502020204030204" pitchFamily="34" charset="0"/>
              </a:rPr>
              <a:t>Std.dev</a:t>
            </a:r>
            <a:r>
              <a:rPr lang="en-US" sz="2000" dirty="0">
                <a:solidFill>
                  <a:schemeClr val="bg1"/>
                </a:solidFill>
                <a:latin typeface="Calibri" panose="020F0502020204030204" pitchFamily="34" charset="0"/>
                <a:cs typeface="Calibri" panose="020F0502020204030204" pitchFamily="34" charset="0"/>
              </a:rPr>
              <a:t> above mean is an anomaly; Remove points &lt; 3 </a:t>
            </a:r>
            <a:r>
              <a:rPr lang="en-US" sz="2000" dirty="0" err="1">
                <a:solidFill>
                  <a:schemeClr val="bg1"/>
                </a:solidFill>
                <a:latin typeface="Calibri" panose="020F0502020204030204" pitchFamily="34" charset="0"/>
                <a:cs typeface="Calibri" panose="020F0502020204030204" pitchFamily="34" charset="0"/>
              </a:rPr>
              <a:t>Std.dev</a:t>
            </a:r>
            <a:r>
              <a:rPr lang="en-US" sz="2000" dirty="0">
                <a:solidFill>
                  <a:schemeClr val="bg1"/>
                </a:solidFill>
                <a:latin typeface="Calibri" panose="020F0502020204030204" pitchFamily="34" charset="0"/>
                <a:cs typeface="Calibri" panose="020F0502020204030204" pitchFamily="34" charset="0"/>
              </a:rPr>
              <a:t> below mean</a:t>
            </a:r>
          </a:p>
        </p:txBody>
      </p:sp>
      <p:sp>
        <p:nvSpPr>
          <p:cNvPr id="230" name="Rectangle: Rounded Corners 26">
            <a:extLst>
              <a:ext uri="{FF2B5EF4-FFF2-40B4-BE49-F238E27FC236}">
                <a16:creationId xmlns:a16="http://schemas.microsoft.com/office/drawing/2014/main" id="{B204BA11-2410-44AD-ACA0-C2A4FF4228A7}"/>
              </a:ext>
            </a:extLst>
          </p:cNvPr>
          <p:cNvSpPr/>
          <p:nvPr/>
        </p:nvSpPr>
        <p:spPr>
          <a:xfrm>
            <a:off x="27748412" y="8030044"/>
            <a:ext cx="4389120" cy="1371600"/>
          </a:xfrm>
          <a:prstGeom prst="round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a:solidFill>
                  <a:schemeClr val="bg1"/>
                </a:solidFill>
                <a:latin typeface="Calibri" panose="020F0502020204030204" pitchFamily="34" charset="0"/>
                <a:cs typeface="Calibri" panose="020F0502020204030204" pitchFamily="34" charset="0"/>
              </a:rPr>
              <a:t>Algorithm Selection: </a:t>
            </a:r>
          </a:p>
          <a:p>
            <a:pPr algn="ctr"/>
            <a:endParaRPr lang="en-US" sz="2000">
              <a:solidFill>
                <a:schemeClr val="bg1"/>
              </a:solidFill>
              <a:latin typeface="Calibri" panose="020F0502020204030204" pitchFamily="34" charset="0"/>
              <a:cs typeface="Calibri" panose="020F0502020204030204" pitchFamily="34" charset="0"/>
            </a:endParaRPr>
          </a:p>
          <a:p>
            <a:pPr algn="ctr"/>
            <a:r>
              <a:rPr lang="en-US" sz="2000">
                <a:solidFill>
                  <a:schemeClr val="bg1"/>
                </a:solidFill>
                <a:latin typeface="Calibri" panose="020F0502020204030204" pitchFamily="34" charset="0"/>
                <a:cs typeface="Calibri" panose="020F0502020204030204" pitchFamily="34" charset="0"/>
              </a:rPr>
              <a:t>Combination of Clustering &amp; PCA</a:t>
            </a:r>
          </a:p>
        </p:txBody>
      </p:sp>
      <p:sp>
        <p:nvSpPr>
          <p:cNvPr id="231" name="Rectangle: Rounded Corners 27">
            <a:extLst>
              <a:ext uri="{FF2B5EF4-FFF2-40B4-BE49-F238E27FC236}">
                <a16:creationId xmlns:a16="http://schemas.microsoft.com/office/drawing/2014/main" id="{B30389C8-6E94-48B9-BAA6-337171E17B64}"/>
              </a:ext>
            </a:extLst>
          </p:cNvPr>
          <p:cNvSpPr/>
          <p:nvPr/>
        </p:nvSpPr>
        <p:spPr>
          <a:xfrm>
            <a:off x="27748412" y="10203240"/>
            <a:ext cx="4389120" cy="1371600"/>
          </a:xfrm>
          <a:prstGeom prst="round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latin typeface="Calibri" panose="020F0502020204030204" pitchFamily="34" charset="0"/>
                <a:cs typeface="Calibri" panose="020F0502020204030204" pitchFamily="34" charset="0"/>
              </a:rPr>
              <a:t>Rule Selection: </a:t>
            </a:r>
          </a:p>
          <a:p>
            <a:pPr algn="ctr"/>
            <a:r>
              <a:rPr lang="en-US" sz="2000" dirty="0">
                <a:solidFill>
                  <a:schemeClr val="bg1"/>
                </a:solidFill>
                <a:latin typeface="Calibri" panose="020F0502020204030204" pitchFamily="34" charset="0"/>
                <a:cs typeface="Calibri" panose="020F0502020204030204" pitchFamily="34" charset="0"/>
              </a:rPr>
              <a:t>Points &gt;= 3 </a:t>
            </a:r>
            <a:r>
              <a:rPr lang="en-US" sz="2000" dirty="0" err="1">
                <a:solidFill>
                  <a:schemeClr val="bg1"/>
                </a:solidFill>
                <a:latin typeface="Calibri" panose="020F0502020204030204" pitchFamily="34" charset="0"/>
                <a:cs typeface="Calibri" panose="020F0502020204030204" pitchFamily="34" charset="0"/>
              </a:rPr>
              <a:t>Std.dev</a:t>
            </a:r>
            <a:r>
              <a:rPr lang="en-US" sz="2000" dirty="0">
                <a:solidFill>
                  <a:schemeClr val="bg1"/>
                </a:solidFill>
                <a:latin typeface="Calibri" panose="020F0502020204030204" pitchFamily="34" charset="0"/>
                <a:cs typeface="Calibri" panose="020F0502020204030204" pitchFamily="34" charset="0"/>
              </a:rPr>
              <a:t> above mean is an anomaly; Remove points &lt; 3 </a:t>
            </a:r>
            <a:r>
              <a:rPr lang="en-US" sz="2000" dirty="0" err="1">
                <a:solidFill>
                  <a:schemeClr val="bg1"/>
                </a:solidFill>
                <a:latin typeface="Calibri" panose="020F0502020204030204" pitchFamily="34" charset="0"/>
                <a:cs typeface="Calibri" panose="020F0502020204030204" pitchFamily="34" charset="0"/>
              </a:rPr>
              <a:t>Std.dev</a:t>
            </a:r>
            <a:r>
              <a:rPr lang="en-US" sz="2000">
                <a:solidFill>
                  <a:schemeClr val="bg1"/>
                </a:solidFill>
                <a:latin typeface="Calibri" panose="020F0502020204030204" pitchFamily="34" charset="0"/>
                <a:cs typeface="Calibri" panose="020F0502020204030204" pitchFamily="34" charset="0"/>
              </a:rPr>
              <a:t> below mean</a:t>
            </a:r>
            <a:endParaRPr lang="en-US" sz="2000" dirty="0">
              <a:solidFill>
                <a:schemeClr val="bg1"/>
              </a:solidFill>
              <a:latin typeface="Calibri" panose="020F0502020204030204" pitchFamily="34" charset="0"/>
              <a:cs typeface="Calibri" panose="020F0502020204030204" pitchFamily="34" charset="0"/>
            </a:endParaRPr>
          </a:p>
        </p:txBody>
      </p:sp>
      <p:sp>
        <p:nvSpPr>
          <p:cNvPr id="232" name="Plus Sign 21">
            <a:extLst>
              <a:ext uri="{FF2B5EF4-FFF2-40B4-BE49-F238E27FC236}">
                <a16:creationId xmlns:a16="http://schemas.microsoft.com/office/drawing/2014/main" id="{8A584565-1286-44E5-9DC7-A14CB313C523}"/>
              </a:ext>
            </a:extLst>
          </p:cNvPr>
          <p:cNvSpPr/>
          <p:nvPr/>
        </p:nvSpPr>
        <p:spPr>
          <a:xfrm>
            <a:off x="25192841" y="9675599"/>
            <a:ext cx="365760" cy="365760"/>
          </a:xfrm>
          <a:prstGeom prst="mathPlus">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233" name="Plus Sign 21">
            <a:extLst>
              <a:ext uri="{FF2B5EF4-FFF2-40B4-BE49-F238E27FC236}">
                <a16:creationId xmlns:a16="http://schemas.microsoft.com/office/drawing/2014/main" id="{B0C61E62-742E-4F49-AB86-ABD12C8872F8}"/>
              </a:ext>
            </a:extLst>
          </p:cNvPr>
          <p:cNvSpPr/>
          <p:nvPr/>
        </p:nvSpPr>
        <p:spPr>
          <a:xfrm>
            <a:off x="29760092" y="9673363"/>
            <a:ext cx="365760" cy="365760"/>
          </a:xfrm>
          <a:prstGeom prst="mathPlus">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Calibri" panose="020F0502020204030204" pitchFamily="34" charset="0"/>
              <a:cs typeface="Calibri" panose="020F0502020204030204" pitchFamily="34" charset="0"/>
            </a:endParaRPr>
          </a:p>
        </p:txBody>
      </p:sp>
      <p:sp>
        <p:nvSpPr>
          <p:cNvPr id="234" name="Rectangle 233">
            <a:extLst>
              <a:ext uri="{FF2B5EF4-FFF2-40B4-BE49-F238E27FC236}">
                <a16:creationId xmlns:a16="http://schemas.microsoft.com/office/drawing/2014/main" id="{84DB6830-6623-42B4-9158-394B5966AEAD}"/>
              </a:ext>
            </a:extLst>
          </p:cNvPr>
          <p:cNvSpPr/>
          <p:nvPr/>
        </p:nvSpPr>
        <p:spPr>
          <a:xfrm>
            <a:off x="24567242" y="7529564"/>
            <a:ext cx="1828800" cy="365760"/>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n w="0"/>
                <a:solidFill>
                  <a:schemeClr val="bg1"/>
                </a:solidFill>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Property type 1</a:t>
            </a:r>
          </a:p>
        </p:txBody>
      </p:sp>
      <p:sp>
        <p:nvSpPr>
          <p:cNvPr id="235" name="Rectangle 234">
            <a:extLst>
              <a:ext uri="{FF2B5EF4-FFF2-40B4-BE49-F238E27FC236}">
                <a16:creationId xmlns:a16="http://schemas.microsoft.com/office/drawing/2014/main" id="{1FCD609A-ECA2-4BA9-AD34-3150ABEF1EA9}"/>
              </a:ext>
            </a:extLst>
          </p:cNvPr>
          <p:cNvSpPr/>
          <p:nvPr/>
        </p:nvSpPr>
        <p:spPr>
          <a:xfrm>
            <a:off x="29051778" y="7529564"/>
            <a:ext cx="1828800" cy="365760"/>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n w="0"/>
                <a:solidFill>
                  <a:schemeClr val="bg1"/>
                </a:solidFill>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Property type 2</a:t>
            </a:r>
          </a:p>
        </p:txBody>
      </p:sp>
      <p:sp>
        <p:nvSpPr>
          <p:cNvPr id="236" name="Rectangle 235">
            <a:extLst>
              <a:ext uri="{FF2B5EF4-FFF2-40B4-BE49-F238E27FC236}">
                <a16:creationId xmlns:a16="http://schemas.microsoft.com/office/drawing/2014/main" id="{80C7BC81-1680-4F33-98DA-35CD2CE71802}"/>
              </a:ext>
            </a:extLst>
          </p:cNvPr>
          <p:cNvSpPr/>
          <p:nvPr/>
        </p:nvSpPr>
        <p:spPr>
          <a:xfrm>
            <a:off x="26173406" y="6901455"/>
            <a:ext cx="2878372" cy="30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n w="0"/>
                <a:solidFill>
                  <a:schemeClr val="bg1"/>
                </a:solidFill>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All Properties</a:t>
            </a:r>
          </a:p>
        </p:txBody>
      </p:sp>
      <p:cxnSp>
        <p:nvCxnSpPr>
          <p:cNvPr id="237" name="Straight Arrow Connector 236">
            <a:extLst>
              <a:ext uri="{FF2B5EF4-FFF2-40B4-BE49-F238E27FC236}">
                <a16:creationId xmlns:a16="http://schemas.microsoft.com/office/drawing/2014/main" id="{8C5A29B7-A6F8-4D0D-AE81-37F5C938D639}"/>
              </a:ext>
            </a:extLst>
          </p:cNvPr>
          <p:cNvCxnSpPr>
            <a:cxnSpLocks/>
            <a:stCxn id="236" idx="1"/>
            <a:endCxn id="234" idx="0"/>
          </p:cNvCxnSpPr>
          <p:nvPr/>
        </p:nvCxnSpPr>
        <p:spPr>
          <a:xfrm flipH="1">
            <a:off x="25481642" y="7054725"/>
            <a:ext cx="691764" cy="4748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8" name="Straight Arrow Connector 237">
            <a:extLst>
              <a:ext uri="{FF2B5EF4-FFF2-40B4-BE49-F238E27FC236}">
                <a16:creationId xmlns:a16="http://schemas.microsoft.com/office/drawing/2014/main" id="{7F96FC2E-D499-4D8E-B90A-DE6DFB94FB8C}"/>
              </a:ext>
            </a:extLst>
          </p:cNvPr>
          <p:cNvCxnSpPr>
            <a:cxnSpLocks/>
            <a:endCxn id="235" idx="0"/>
          </p:cNvCxnSpPr>
          <p:nvPr/>
        </p:nvCxnSpPr>
        <p:spPr>
          <a:xfrm>
            <a:off x="29061084" y="7049857"/>
            <a:ext cx="905094" cy="4797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9" name="TextBox 238">
            <a:extLst>
              <a:ext uri="{FF2B5EF4-FFF2-40B4-BE49-F238E27FC236}">
                <a16:creationId xmlns:a16="http://schemas.microsoft.com/office/drawing/2014/main" id="{62B53685-E6C6-4136-BA97-435EF5F12C39}"/>
              </a:ext>
            </a:extLst>
          </p:cNvPr>
          <p:cNvSpPr txBox="1"/>
          <p:nvPr/>
        </p:nvSpPr>
        <p:spPr>
          <a:xfrm>
            <a:off x="23651725" y="12239088"/>
            <a:ext cx="2067339" cy="400110"/>
          </a:xfrm>
          <a:prstGeom prst="rect">
            <a:avLst/>
          </a:prstGeom>
          <a:noFill/>
        </p:spPr>
        <p:txBody>
          <a:bodyPr wrap="square" rtlCol="0">
            <a:spAutoFit/>
          </a:bodyPr>
          <a:lstStyle/>
          <a:p>
            <a:pPr algn="ctr"/>
            <a:r>
              <a:rPr lang="en-US" sz="2000">
                <a:latin typeface="Calibri" panose="020F0502020204030204" pitchFamily="34" charset="0"/>
                <a:cs typeface="Calibri" panose="020F0502020204030204" pitchFamily="34" charset="0"/>
              </a:rPr>
              <a:t>Before</a:t>
            </a:r>
          </a:p>
        </p:txBody>
      </p:sp>
      <p:sp>
        <p:nvSpPr>
          <p:cNvPr id="240" name="TextBox 239">
            <a:extLst>
              <a:ext uri="{FF2B5EF4-FFF2-40B4-BE49-F238E27FC236}">
                <a16:creationId xmlns:a16="http://schemas.microsoft.com/office/drawing/2014/main" id="{3C33D1CF-1694-4968-945A-ED48AD89C138}"/>
              </a:ext>
            </a:extLst>
          </p:cNvPr>
          <p:cNvSpPr txBox="1"/>
          <p:nvPr/>
        </p:nvSpPr>
        <p:spPr>
          <a:xfrm>
            <a:off x="28485676" y="12245563"/>
            <a:ext cx="3643023" cy="400110"/>
          </a:xfrm>
          <a:prstGeom prst="rect">
            <a:avLst/>
          </a:prstGeom>
          <a:noFill/>
        </p:spPr>
        <p:txBody>
          <a:bodyPr wrap="square" rtlCol="0">
            <a:spAutoFit/>
          </a:bodyPr>
          <a:lstStyle/>
          <a:p>
            <a:pPr algn="ctr"/>
            <a:r>
              <a:rPr lang="en-US" sz="2000">
                <a:latin typeface="Calibri" panose="020F0502020204030204" pitchFamily="34" charset="0"/>
                <a:cs typeface="Calibri" panose="020F0502020204030204" pitchFamily="34" charset="0"/>
              </a:rPr>
              <a:t>After</a:t>
            </a:r>
          </a:p>
        </p:txBody>
      </p:sp>
      <p:pic>
        <p:nvPicPr>
          <p:cNvPr id="241" name="Picture 240" descr="Chart&#10;&#10;Description automatically generated">
            <a:extLst>
              <a:ext uri="{FF2B5EF4-FFF2-40B4-BE49-F238E27FC236}">
                <a16:creationId xmlns:a16="http://schemas.microsoft.com/office/drawing/2014/main" id="{B7990471-3650-478A-BAD3-2D63B6943544}"/>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21876525" y="12755045"/>
            <a:ext cx="5617739" cy="3108960"/>
          </a:xfrm>
          <a:prstGeom prst="rect">
            <a:avLst/>
          </a:prstGeom>
          <a:noFill/>
          <a:ln>
            <a:solidFill>
              <a:srgbClr val="900E2D"/>
            </a:solidFill>
          </a:ln>
        </p:spPr>
      </p:pic>
      <p:pic>
        <p:nvPicPr>
          <p:cNvPr id="242" name="Picture 241" descr="Chart&#10;&#10;Description automatically generated">
            <a:extLst>
              <a:ext uri="{FF2B5EF4-FFF2-40B4-BE49-F238E27FC236}">
                <a16:creationId xmlns:a16="http://schemas.microsoft.com/office/drawing/2014/main" id="{33662174-66C7-4E15-9739-4D91060D063C}"/>
              </a:ext>
            </a:extLst>
          </p:cNvPr>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27496693" y="12755045"/>
            <a:ext cx="5620988" cy="3108960"/>
          </a:xfrm>
          <a:prstGeom prst="rect">
            <a:avLst/>
          </a:prstGeom>
          <a:noFill/>
          <a:ln>
            <a:solidFill>
              <a:srgbClr val="900E2D"/>
            </a:solidFill>
          </a:ln>
        </p:spPr>
      </p:pic>
      <p:pic>
        <p:nvPicPr>
          <p:cNvPr id="244" name="Picture 243">
            <a:extLst>
              <a:ext uri="{FF2B5EF4-FFF2-40B4-BE49-F238E27FC236}">
                <a16:creationId xmlns:a16="http://schemas.microsoft.com/office/drawing/2014/main" id="{2040F0CE-D837-4FF1-BC0D-593B1FF8C268}"/>
              </a:ext>
            </a:extLst>
          </p:cNvPr>
          <p:cNvPicPr>
            <a:picLocks noChangeAspect="1"/>
          </p:cNvPicPr>
          <p:nvPr/>
        </p:nvPicPr>
        <p:blipFill rotWithShape="1">
          <a:blip r:embed="rId20"/>
          <a:srcRect b="3346"/>
          <a:stretch/>
        </p:blipFill>
        <p:spPr>
          <a:xfrm>
            <a:off x="21976400" y="16588811"/>
            <a:ext cx="4528449" cy="4114800"/>
          </a:xfrm>
          <a:prstGeom prst="rect">
            <a:avLst/>
          </a:prstGeom>
          <a:ln>
            <a:solidFill>
              <a:srgbClr val="900E2D"/>
            </a:solidFill>
          </a:ln>
        </p:spPr>
      </p:pic>
      <p:pic>
        <p:nvPicPr>
          <p:cNvPr id="245" name="Picture 244">
            <a:extLst>
              <a:ext uri="{FF2B5EF4-FFF2-40B4-BE49-F238E27FC236}">
                <a16:creationId xmlns:a16="http://schemas.microsoft.com/office/drawing/2014/main" id="{CF5CC31F-BBD8-445A-B8D8-CE37C65C07F4}"/>
              </a:ext>
            </a:extLst>
          </p:cNvPr>
          <p:cNvPicPr>
            <a:picLocks noChangeAspect="1"/>
          </p:cNvPicPr>
          <p:nvPr/>
        </p:nvPicPr>
        <p:blipFill rotWithShape="1">
          <a:blip r:embed="rId21"/>
          <a:srcRect r="6829"/>
          <a:stretch/>
        </p:blipFill>
        <p:spPr>
          <a:xfrm>
            <a:off x="26595056" y="16588811"/>
            <a:ext cx="6523050" cy="4114800"/>
          </a:xfrm>
          <a:prstGeom prst="rect">
            <a:avLst/>
          </a:prstGeom>
          <a:ln>
            <a:solidFill>
              <a:srgbClr val="900E2D"/>
            </a:solidFill>
          </a:ln>
        </p:spPr>
      </p:pic>
      <p:sp>
        <p:nvSpPr>
          <p:cNvPr id="14" name="Rectangle 13">
            <a:extLst>
              <a:ext uri="{FF2B5EF4-FFF2-40B4-BE49-F238E27FC236}">
                <a16:creationId xmlns:a16="http://schemas.microsoft.com/office/drawing/2014/main" id="{97614249-28AA-4F18-902D-CDD30348D499}"/>
              </a:ext>
            </a:extLst>
          </p:cNvPr>
          <p:cNvSpPr/>
          <p:nvPr/>
        </p:nvSpPr>
        <p:spPr bwMode="auto">
          <a:xfrm>
            <a:off x="24600191" y="16597487"/>
            <a:ext cx="1820363" cy="25293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b="0" i="0" u="none" strike="noStrike" cap="none" normalizeH="0" baseline="0">
                <a:ln>
                  <a:noFill/>
                </a:ln>
                <a:solidFill>
                  <a:schemeClr val="bg1"/>
                </a:solidFill>
                <a:effectLst/>
                <a:latin typeface="Times" charset="0"/>
              </a:rPr>
              <a:t>Property information blinded</a:t>
            </a:r>
          </a:p>
        </p:txBody>
      </p:sp>
      <p:sp>
        <p:nvSpPr>
          <p:cNvPr id="247" name="Rectangle 246">
            <a:extLst>
              <a:ext uri="{FF2B5EF4-FFF2-40B4-BE49-F238E27FC236}">
                <a16:creationId xmlns:a16="http://schemas.microsoft.com/office/drawing/2014/main" id="{5C78ADB3-B204-4D3B-9370-D00CD4DF3CBD}"/>
              </a:ext>
            </a:extLst>
          </p:cNvPr>
          <p:cNvSpPr/>
          <p:nvPr/>
        </p:nvSpPr>
        <p:spPr>
          <a:xfrm>
            <a:off x="22282077" y="20835734"/>
            <a:ext cx="10335403" cy="400110"/>
          </a:xfrm>
          <a:prstGeom prst="rect">
            <a:avLst/>
          </a:prstGeom>
        </p:spPr>
        <p:txBody>
          <a:bodyPr wrap="square">
            <a:spAutoFit/>
          </a:bodyPr>
          <a:lstStyle/>
          <a:p>
            <a:pPr algn="ctr"/>
            <a:r>
              <a:rPr lang="en-US" sz="2000">
                <a:latin typeface="Calibri" panose="020F0502020204030204" pitchFamily="34" charset="0"/>
                <a:ea typeface="Arial" charset="0"/>
                <a:cs typeface="Calibri" panose="020F0502020204030204" pitchFamily="34" charset="0"/>
              </a:rPr>
              <a:t>Fig 4. Snapshot of Email Alert after an anomaly is detected</a:t>
            </a:r>
          </a:p>
        </p:txBody>
      </p:sp>
      <p:grpSp>
        <p:nvGrpSpPr>
          <p:cNvPr id="20" name="Group 19">
            <a:extLst>
              <a:ext uri="{FF2B5EF4-FFF2-40B4-BE49-F238E27FC236}">
                <a16:creationId xmlns:a16="http://schemas.microsoft.com/office/drawing/2014/main" id="{F86FB28B-B46B-446B-A9DC-B9651747A84C}"/>
              </a:ext>
            </a:extLst>
          </p:cNvPr>
          <p:cNvGrpSpPr/>
          <p:nvPr/>
        </p:nvGrpSpPr>
        <p:grpSpPr>
          <a:xfrm>
            <a:off x="33370267" y="8040271"/>
            <a:ext cx="10270176" cy="1475997"/>
            <a:chOff x="33370267" y="8402221"/>
            <a:chExt cx="10270176" cy="1475997"/>
          </a:xfrm>
        </p:grpSpPr>
        <p:sp>
          <p:nvSpPr>
            <p:cNvPr id="274" name="TextBox 273">
              <a:extLst>
                <a:ext uri="{FF2B5EF4-FFF2-40B4-BE49-F238E27FC236}">
                  <a16:creationId xmlns:a16="http://schemas.microsoft.com/office/drawing/2014/main" id="{3E9E7550-7F57-4309-A575-02CE0A39B97D}"/>
                </a:ext>
              </a:extLst>
            </p:cNvPr>
            <p:cNvSpPr txBox="1"/>
            <p:nvPr/>
          </p:nvSpPr>
          <p:spPr>
            <a:xfrm>
              <a:off x="33370267" y="8402221"/>
              <a:ext cx="10270176" cy="1475997"/>
            </a:xfrm>
            <a:prstGeom prst="round2DiagRect">
              <a:avLst/>
            </a:prstGeom>
            <a:solidFill>
              <a:schemeClr val="accent5">
                <a:lumMod val="20000"/>
                <a:lumOff val="80000"/>
              </a:schemeClr>
            </a:solidFill>
          </p:spPr>
          <p:txBody>
            <a:bodyPr wrap="square" rtlCol="0" anchor="ctr">
              <a:noAutofit/>
            </a:bodyPr>
            <a:lstStyle/>
            <a:p>
              <a:pPr algn="ctr">
                <a:lnSpc>
                  <a:spcPct val="150000"/>
                </a:lnSpc>
              </a:pPr>
              <a:endParaRPr lang="en-US" sz="1400">
                <a:solidFill>
                  <a:schemeClr val="bg1"/>
                </a:solidFill>
                <a:latin typeface="+mn-lt"/>
              </a:endParaRPr>
            </a:p>
          </p:txBody>
        </p:sp>
        <p:grpSp>
          <p:nvGrpSpPr>
            <p:cNvPr id="17" name="Group 16">
              <a:extLst>
                <a:ext uri="{FF2B5EF4-FFF2-40B4-BE49-F238E27FC236}">
                  <a16:creationId xmlns:a16="http://schemas.microsoft.com/office/drawing/2014/main" id="{2955D046-DAA1-4811-94FE-1B751225B6CD}"/>
                </a:ext>
              </a:extLst>
            </p:cNvPr>
            <p:cNvGrpSpPr/>
            <p:nvPr/>
          </p:nvGrpSpPr>
          <p:grpSpPr>
            <a:xfrm>
              <a:off x="33751963" y="8512322"/>
              <a:ext cx="9543526" cy="1358649"/>
              <a:chOff x="33751963" y="9072762"/>
              <a:chExt cx="9543526" cy="1358649"/>
            </a:xfrm>
          </p:grpSpPr>
          <p:grpSp>
            <p:nvGrpSpPr>
              <p:cNvPr id="15" name="Group 14">
                <a:extLst>
                  <a:ext uri="{FF2B5EF4-FFF2-40B4-BE49-F238E27FC236}">
                    <a16:creationId xmlns:a16="http://schemas.microsoft.com/office/drawing/2014/main" id="{168F0CE8-94AD-4E14-A836-2F5526EFC333}"/>
                  </a:ext>
                </a:extLst>
              </p:cNvPr>
              <p:cNvGrpSpPr/>
              <p:nvPr/>
            </p:nvGrpSpPr>
            <p:grpSpPr>
              <a:xfrm>
                <a:off x="33751963" y="9072762"/>
                <a:ext cx="4020008" cy="1339524"/>
                <a:chOff x="33751963" y="9072762"/>
                <a:chExt cx="4020008" cy="1339524"/>
              </a:xfrm>
            </p:grpSpPr>
            <p:sp>
              <p:nvSpPr>
                <p:cNvPr id="248" name="TextBox 247">
                  <a:extLst>
                    <a:ext uri="{FF2B5EF4-FFF2-40B4-BE49-F238E27FC236}">
                      <a16:creationId xmlns:a16="http://schemas.microsoft.com/office/drawing/2014/main" id="{F3AB765E-40F8-4936-9C08-1ABF7C61617E}"/>
                    </a:ext>
                  </a:extLst>
                </p:cNvPr>
                <p:cNvSpPr txBox="1"/>
                <p:nvPr/>
              </p:nvSpPr>
              <p:spPr>
                <a:xfrm>
                  <a:off x="33751963" y="9704400"/>
                  <a:ext cx="4020008" cy="707886"/>
                </a:xfrm>
                <a:prstGeom prst="rect">
                  <a:avLst/>
                </a:prstGeom>
                <a:noFill/>
              </p:spPr>
              <p:txBody>
                <a:bodyPr wrap="square" rtlCol="0">
                  <a:spAutoFit/>
                </a:bodyPr>
                <a:lstStyle/>
                <a:p>
                  <a:pPr algn="ctr"/>
                  <a:r>
                    <a:rPr lang="en-US" sz="2000" b="1" i="1">
                      <a:latin typeface="Calibri" panose="020F0502020204030204" pitchFamily="34" charset="0"/>
                      <a:cs typeface="Calibri" panose="020F0502020204030204" pitchFamily="34" charset="0"/>
                    </a:rPr>
                    <a:t>True Positive Rate = </a:t>
                  </a:r>
                </a:p>
                <a:p>
                  <a:pPr algn="ctr"/>
                  <a:r>
                    <a:rPr lang="en-US" sz="2000" b="1" i="1">
                      <a:latin typeface="Calibri" panose="020F0502020204030204" pitchFamily="34" charset="0"/>
                      <a:cs typeface="Calibri" panose="020F0502020204030204" pitchFamily="34" charset="0"/>
                    </a:rPr>
                    <a:t>True Positives (TP) / Actual Positives</a:t>
                  </a:r>
                </a:p>
              </p:txBody>
            </p:sp>
            <p:sp>
              <p:nvSpPr>
                <p:cNvPr id="250" name="TextBox 249">
                  <a:extLst>
                    <a:ext uri="{FF2B5EF4-FFF2-40B4-BE49-F238E27FC236}">
                      <a16:creationId xmlns:a16="http://schemas.microsoft.com/office/drawing/2014/main" id="{B0BA3E24-4063-4E36-A56B-4438FF3A87A6}"/>
                    </a:ext>
                  </a:extLst>
                </p:cNvPr>
                <p:cNvSpPr txBox="1"/>
                <p:nvPr/>
              </p:nvSpPr>
              <p:spPr>
                <a:xfrm>
                  <a:off x="35089267" y="9072762"/>
                  <a:ext cx="1316981" cy="646331"/>
                </a:xfrm>
                <a:prstGeom prst="rect">
                  <a:avLst/>
                </a:prstGeom>
                <a:noFill/>
              </p:spPr>
              <p:txBody>
                <a:bodyPr wrap="square" rtlCol="0">
                  <a:spAutoFit/>
                </a:bodyPr>
                <a:lstStyle/>
                <a:p>
                  <a:pPr algn="ctr"/>
                  <a:r>
                    <a:rPr lang="en-US" sz="3600" b="1" i="1">
                      <a:solidFill>
                        <a:srgbClr val="00B050"/>
                      </a:solidFill>
                      <a:latin typeface="Calibri" panose="020F0502020204030204" pitchFamily="34" charset="0"/>
                      <a:cs typeface="Calibri" panose="020F0502020204030204" pitchFamily="34" charset="0"/>
                    </a:rPr>
                    <a:t>~83%</a:t>
                  </a:r>
                </a:p>
              </p:txBody>
            </p:sp>
          </p:grpSp>
          <p:grpSp>
            <p:nvGrpSpPr>
              <p:cNvPr id="16" name="Group 15">
                <a:extLst>
                  <a:ext uri="{FF2B5EF4-FFF2-40B4-BE49-F238E27FC236}">
                    <a16:creationId xmlns:a16="http://schemas.microsoft.com/office/drawing/2014/main" id="{26470B5B-8DF6-4E53-868C-1D5CAFF1ABA1}"/>
                  </a:ext>
                </a:extLst>
              </p:cNvPr>
              <p:cNvGrpSpPr/>
              <p:nvPr/>
            </p:nvGrpSpPr>
            <p:grpSpPr>
              <a:xfrm>
                <a:off x="38933664" y="9116083"/>
                <a:ext cx="4361825" cy="1315328"/>
                <a:chOff x="38933664" y="9116083"/>
                <a:chExt cx="4361825" cy="1315328"/>
              </a:xfrm>
            </p:grpSpPr>
            <p:sp>
              <p:nvSpPr>
                <p:cNvPr id="249" name="TextBox 248">
                  <a:extLst>
                    <a:ext uri="{FF2B5EF4-FFF2-40B4-BE49-F238E27FC236}">
                      <a16:creationId xmlns:a16="http://schemas.microsoft.com/office/drawing/2014/main" id="{4B4B1218-E698-43DB-8E2F-0396C3AD9155}"/>
                    </a:ext>
                  </a:extLst>
                </p:cNvPr>
                <p:cNvSpPr txBox="1"/>
                <p:nvPr/>
              </p:nvSpPr>
              <p:spPr>
                <a:xfrm>
                  <a:off x="38933664" y="9723525"/>
                  <a:ext cx="4361825" cy="707886"/>
                </a:xfrm>
                <a:prstGeom prst="rect">
                  <a:avLst/>
                </a:prstGeom>
                <a:noFill/>
              </p:spPr>
              <p:txBody>
                <a:bodyPr wrap="square">
                  <a:spAutoFit/>
                </a:bodyPr>
                <a:lstStyle/>
                <a:p>
                  <a:pPr algn="ctr"/>
                  <a:r>
                    <a:rPr lang="en-US" sz="2000" b="1" i="1">
                      <a:latin typeface="Calibri" panose="020F0502020204030204" pitchFamily="34" charset="0"/>
                      <a:cs typeface="Calibri" panose="020F0502020204030204" pitchFamily="34" charset="0"/>
                    </a:rPr>
                    <a:t>False Positive Rate = </a:t>
                  </a:r>
                </a:p>
                <a:p>
                  <a:pPr algn="ctr"/>
                  <a:r>
                    <a:rPr lang="en-US" sz="2000" b="1" i="1">
                      <a:latin typeface="Calibri" panose="020F0502020204030204" pitchFamily="34" charset="0"/>
                      <a:cs typeface="Calibri" panose="020F0502020204030204" pitchFamily="34" charset="0"/>
                    </a:rPr>
                    <a:t>False Positives (FP) / Actual Negatives</a:t>
                  </a:r>
                </a:p>
              </p:txBody>
            </p:sp>
            <p:sp>
              <p:nvSpPr>
                <p:cNvPr id="251" name="TextBox 250">
                  <a:extLst>
                    <a:ext uri="{FF2B5EF4-FFF2-40B4-BE49-F238E27FC236}">
                      <a16:creationId xmlns:a16="http://schemas.microsoft.com/office/drawing/2014/main" id="{2C49D850-A3F1-46D1-B527-AD5319CE8E59}"/>
                    </a:ext>
                  </a:extLst>
                </p:cNvPr>
                <p:cNvSpPr txBox="1"/>
                <p:nvPr/>
              </p:nvSpPr>
              <p:spPr>
                <a:xfrm>
                  <a:off x="40700437" y="9116083"/>
                  <a:ext cx="1170096" cy="646331"/>
                </a:xfrm>
                <a:prstGeom prst="rect">
                  <a:avLst/>
                </a:prstGeom>
                <a:noFill/>
              </p:spPr>
              <p:txBody>
                <a:bodyPr wrap="square" rtlCol="0">
                  <a:spAutoFit/>
                </a:bodyPr>
                <a:lstStyle/>
                <a:p>
                  <a:pPr algn="ctr"/>
                  <a:r>
                    <a:rPr lang="en-US" sz="3600" b="1" i="1">
                      <a:solidFill>
                        <a:srgbClr val="C00000"/>
                      </a:solidFill>
                      <a:latin typeface="Calibri" panose="020F0502020204030204" pitchFamily="34" charset="0"/>
                      <a:cs typeface="Calibri" panose="020F0502020204030204" pitchFamily="34" charset="0"/>
                    </a:rPr>
                    <a:t>~1%</a:t>
                  </a:r>
                </a:p>
              </p:txBody>
            </p:sp>
          </p:grpSp>
        </p:grpSp>
      </p:grpSp>
      <p:grpSp>
        <p:nvGrpSpPr>
          <p:cNvPr id="252" name="Group 251">
            <a:extLst>
              <a:ext uri="{FF2B5EF4-FFF2-40B4-BE49-F238E27FC236}">
                <a16:creationId xmlns:a16="http://schemas.microsoft.com/office/drawing/2014/main" id="{CAB2C80F-3D47-4A13-9081-5A12C19706CD}"/>
              </a:ext>
            </a:extLst>
          </p:cNvPr>
          <p:cNvGrpSpPr/>
          <p:nvPr/>
        </p:nvGrpSpPr>
        <p:grpSpPr>
          <a:xfrm>
            <a:off x="33244535" y="10449278"/>
            <a:ext cx="4421412" cy="3597091"/>
            <a:chOff x="-257031" y="1239827"/>
            <a:chExt cx="4421412" cy="3597091"/>
          </a:xfrm>
        </p:grpSpPr>
        <p:sp>
          <p:nvSpPr>
            <p:cNvPr id="253" name="TextBox 252">
              <a:extLst>
                <a:ext uri="{FF2B5EF4-FFF2-40B4-BE49-F238E27FC236}">
                  <a16:creationId xmlns:a16="http://schemas.microsoft.com/office/drawing/2014/main" id="{BD32B9D7-7D30-4C33-8630-73B4994365FA}"/>
                </a:ext>
              </a:extLst>
            </p:cNvPr>
            <p:cNvSpPr txBox="1"/>
            <p:nvPr/>
          </p:nvSpPr>
          <p:spPr>
            <a:xfrm>
              <a:off x="47949" y="1762426"/>
              <a:ext cx="3705652" cy="400110"/>
            </a:xfrm>
            <a:prstGeom prst="rect">
              <a:avLst/>
            </a:prstGeom>
            <a:noFill/>
          </p:spPr>
          <p:txBody>
            <a:bodyPr wrap="square" rtlCol="0">
              <a:spAutoFit/>
            </a:bodyPr>
            <a:lstStyle/>
            <a:p>
              <a:pPr algn="ctr"/>
              <a:r>
                <a:rPr lang="en-US" sz="2000" b="1">
                  <a:latin typeface="Calibri" panose="020F0502020204030204" pitchFamily="34" charset="0"/>
                  <a:cs typeface="Calibri" panose="020F0502020204030204" pitchFamily="34" charset="0"/>
                </a:rPr>
                <a:t>Total Bookings from &gt;10 K days</a:t>
              </a:r>
            </a:p>
          </p:txBody>
        </p:sp>
        <p:sp>
          <p:nvSpPr>
            <p:cNvPr id="254" name="TextBox 253">
              <a:extLst>
                <a:ext uri="{FF2B5EF4-FFF2-40B4-BE49-F238E27FC236}">
                  <a16:creationId xmlns:a16="http://schemas.microsoft.com/office/drawing/2014/main" id="{F9160850-672E-44FF-B03F-4E81354EFF61}"/>
                </a:ext>
              </a:extLst>
            </p:cNvPr>
            <p:cNvSpPr txBox="1"/>
            <p:nvPr/>
          </p:nvSpPr>
          <p:spPr>
            <a:xfrm>
              <a:off x="1161765" y="1239827"/>
              <a:ext cx="1440716" cy="646331"/>
            </a:xfrm>
            <a:prstGeom prst="rect">
              <a:avLst/>
            </a:prstGeom>
            <a:noFill/>
          </p:spPr>
          <p:txBody>
            <a:bodyPr wrap="square" rtlCol="0">
              <a:spAutoFit/>
            </a:bodyPr>
            <a:lstStyle/>
            <a:p>
              <a:pPr algn="ctr"/>
              <a:r>
                <a:rPr lang="en-US" sz="3600" b="1" i="1">
                  <a:solidFill>
                    <a:srgbClr val="D61440"/>
                  </a:solidFill>
                  <a:latin typeface="Calibri" panose="020F0502020204030204" pitchFamily="34" charset="0"/>
                  <a:cs typeface="Calibri" panose="020F0502020204030204" pitchFamily="34" charset="0"/>
                </a:rPr>
                <a:t>&gt; 80 K</a:t>
              </a:r>
            </a:p>
          </p:txBody>
        </p:sp>
        <p:sp>
          <p:nvSpPr>
            <p:cNvPr id="255" name="Arrow: Down 254">
              <a:extLst>
                <a:ext uri="{FF2B5EF4-FFF2-40B4-BE49-F238E27FC236}">
                  <a16:creationId xmlns:a16="http://schemas.microsoft.com/office/drawing/2014/main" id="{6E66EC74-E38A-4587-824E-0AE1E9BC6BC5}"/>
                </a:ext>
              </a:extLst>
            </p:cNvPr>
            <p:cNvSpPr/>
            <p:nvPr/>
          </p:nvSpPr>
          <p:spPr>
            <a:xfrm>
              <a:off x="1764013" y="2184282"/>
              <a:ext cx="236220" cy="1005840"/>
            </a:xfrm>
            <a:prstGeom prst="downArrow">
              <a:avLst/>
            </a:prstGeom>
            <a:gradFill>
              <a:gsLst>
                <a:gs pos="0">
                  <a:srgbClr val="D61440"/>
                </a:gs>
                <a:gs pos="50000">
                  <a:schemeClr val="accent2">
                    <a:lumMod val="40000"/>
                    <a:lumOff val="60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6" name="TextBox 255">
              <a:extLst>
                <a:ext uri="{FF2B5EF4-FFF2-40B4-BE49-F238E27FC236}">
                  <a16:creationId xmlns:a16="http://schemas.microsoft.com/office/drawing/2014/main" id="{EA124FD2-3B3E-445C-BC45-1E38F1D71C5E}"/>
                </a:ext>
              </a:extLst>
            </p:cNvPr>
            <p:cNvSpPr txBox="1"/>
            <p:nvPr/>
          </p:nvSpPr>
          <p:spPr>
            <a:xfrm>
              <a:off x="-257031" y="3821255"/>
              <a:ext cx="4421412" cy="1015663"/>
            </a:xfrm>
            <a:prstGeom prst="rect">
              <a:avLst/>
            </a:prstGeom>
            <a:noFill/>
          </p:spPr>
          <p:txBody>
            <a:bodyPr wrap="square" rtlCol="0">
              <a:spAutoFit/>
            </a:bodyPr>
            <a:lstStyle/>
            <a:p>
              <a:pPr algn="ctr"/>
              <a:r>
                <a:rPr lang="en-US" sz="2000" b="1">
                  <a:latin typeface="Calibri" panose="020F0502020204030204" pitchFamily="34" charset="0"/>
                  <a:cs typeface="Calibri" panose="020F0502020204030204" pitchFamily="34" charset="0"/>
                </a:rPr>
                <a:t>Total Bookings from ~150 days that are anomalies based on the model / algorithm</a:t>
              </a:r>
            </a:p>
          </p:txBody>
        </p:sp>
        <p:sp>
          <p:nvSpPr>
            <p:cNvPr id="257" name="TextBox 256">
              <a:extLst>
                <a:ext uri="{FF2B5EF4-FFF2-40B4-BE49-F238E27FC236}">
                  <a16:creationId xmlns:a16="http://schemas.microsoft.com/office/drawing/2014/main" id="{1059C366-C332-4DEB-BE4C-965F2685FC91}"/>
                </a:ext>
              </a:extLst>
            </p:cNvPr>
            <p:cNvSpPr txBox="1"/>
            <p:nvPr/>
          </p:nvSpPr>
          <p:spPr>
            <a:xfrm>
              <a:off x="554116" y="3233615"/>
              <a:ext cx="2656015" cy="646331"/>
            </a:xfrm>
            <a:prstGeom prst="rect">
              <a:avLst/>
            </a:prstGeom>
            <a:noFill/>
          </p:spPr>
          <p:txBody>
            <a:bodyPr wrap="square" rtlCol="0">
              <a:spAutoFit/>
            </a:bodyPr>
            <a:lstStyle/>
            <a:p>
              <a:pPr algn="ctr"/>
              <a:r>
                <a:rPr lang="en-US" sz="3600" b="1" i="1">
                  <a:solidFill>
                    <a:srgbClr val="D61440"/>
                  </a:solidFill>
                  <a:latin typeface="Calibri" panose="020F0502020204030204" pitchFamily="34" charset="0"/>
                  <a:cs typeface="Calibri" panose="020F0502020204030204" pitchFamily="34" charset="0"/>
                </a:rPr>
                <a:t>~ 6 K / 7%</a:t>
              </a:r>
            </a:p>
          </p:txBody>
        </p:sp>
      </p:grpSp>
      <p:grpSp>
        <p:nvGrpSpPr>
          <p:cNvPr id="258" name="Group 257">
            <a:extLst>
              <a:ext uri="{FF2B5EF4-FFF2-40B4-BE49-F238E27FC236}">
                <a16:creationId xmlns:a16="http://schemas.microsoft.com/office/drawing/2014/main" id="{13BD379B-2A5C-4190-9534-EBE1E5F76E39}"/>
              </a:ext>
            </a:extLst>
          </p:cNvPr>
          <p:cNvGrpSpPr/>
          <p:nvPr/>
        </p:nvGrpSpPr>
        <p:grpSpPr>
          <a:xfrm>
            <a:off x="37560147" y="10437432"/>
            <a:ext cx="6080295" cy="3212665"/>
            <a:chOff x="2952751" y="1174029"/>
            <a:chExt cx="6080295" cy="3212665"/>
          </a:xfrm>
        </p:grpSpPr>
        <p:sp>
          <p:nvSpPr>
            <p:cNvPr id="259" name="TextBox 258">
              <a:extLst>
                <a:ext uri="{FF2B5EF4-FFF2-40B4-BE49-F238E27FC236}">
                  <a16:creationId xmlns:a16="http://schemas.microsoft.com/office/drawing/2014/main" id="{8B12EC2C-45D7-41A7-8437-79E6B417E023}"/>
                </a:ext>
              </a:extLst>
            </p:cNvPr>
            <p:cNvSpPr txBox="1"/>
            <p:nvPr/>
          </p:nvSpPr>
          <p:spPr>
            <a:xfrm>
              <a:off x="2952751" y="1174029"/>
              <a:ext cx="6080295" cy="3212665"/>
            </a:xfrm>
            <a:prstGeom prst="round2DiagRect">
              <a:avLst/>
            </a:prstGeom>
            <a:solidFill>
              <a:schemeClr val="accent5">
                <a:lumMod val="20000"/>
                <a:lumOff val="80000"/>
              </a:schemeClr>
            </a:solidFill>
          </p:spPr>
          <p:txBody>
            <a:bodyPr wrap="square" rtlCol="0" anchor="ctr">
              <a:noAutofit/>
            </a:bodyPr>
            <a:lstStyle/>
            <a:p>
              <a:pPr algn="ctr">
                <a:lnSpc>
                  <a:spcPct val="150000"/>
                </a:lnSpc>
              </a:pPr>
              <a:endParaRPr lang="en-US" sz="1400">
                <a:solidFill>
                  <a:schemeClr val="bg1"/>
                </a:solidFill>
                <a:latin typeface="+mn-lt"/>
              </a:endParaRPr>
            </a:p>
          </p:txBody>
        </p:sp>
        <p:sp>
          <p:nvSpPr>
            <p:cNvPr id="260" name="TextBox 259">
              <a:extLst>
                <a:ext uri="{FF2B5EF4-FFF2-40B4-BE49-F238E27FC236}">
                  <a16:creationId xmlns:a16="http://schemas.microsoft.com/office/drawing/2014/main" id="{B300617F-ED4C-44A9-A904-13E947C8CD40}"/>
                </a:ext>
              </a:extLst>
            </p:cNvPr>
            <p:cNvSpPr txBox="1"/>
            <p:nvPr/>
          </p:nvSpPr>
          <p:spPr>
            <a:xfrm>
              <a:off x="5122838" y="1323398"/>
              <a:ext cx="3539024" cy="646331"/>
            </a:xfrm>
            <a:prstGeom prst="rect">
              <a:avLst/>
            </a:prstGeom>
            <a:noFill/>
          </p:spPr>
          <p:txBody>
            <a:bodyPr wrap="square" rtlCol="0">
              <a:spAutoFit/>
            </a:bodyPr>
            <a:lstStyle/>
            <a:p>
              <a:pPr algn="ctr"/>
              <a:r>
                <a:rPr lang="en-US" sz="3600" b="1" i="1">
                  <a:solidFill>
                    <a:srgbClr val="D61440"/>
                  </a:solidFill>
                  <a:latin typeface="Calibri" panose="020F0502020204030204" pitchFamily="34" charset="0"/>
                  <a:cs typeface="Calibri" panose="020F0502020204030204" pitchFamily="34" charset="0"/>
                </a:rPr>
                <a:t>+ 2.6 </a:t>
              </a:r>
              <a:r>
                <a:rPr lang="en-US" sz="2000" b="1" i="1">
                  <a:solidFill>
                    <a:srgbClr val="D61440"/>
                  </a:solidFill>
                  <a:latin typeface="Calibri" panose="020F0502020204030204" pitchFamily="34" charset="0"/>
                  <a:cs typeface="Calibri" panose="020F0502020204030204" pitchFamily="34" charset="0"/>
                </a:rPr>
                <a:t>to</a:t>
              </a:r>
              <a:r>
                <a:rPr lang="en-US" sz="3600" b="1" i="1">
                  <a:solidFill>
                    <a:srgbClr val="D61440"/>
                  </a:solidFill>
                  <a:latin typeface="Calibri" panose="020F0502020204030204" pitchFamily="34" charset="0"/>
                  <a:cs typeface="Calibri" panose="020F0502020204030204" pitchFamily="34" charset="0"/>
                </a:rPr>
                <a:t> 3.5%</a:t>
              </a:r>
            </a:p>
          </p:txBody>
        </p:sp>
        <p:sp>
          <p:nvSpPr>
            <p:cNvPr id="261" name="TextBox 260">
              <a:extLst>
                <a:ext uri="{FF2B5EF4-FFF2-40B4-BE49-F238E27FC236}">
                  <a16:creationId xmlns:a16="http://schemas.microsoft.com/office/drawing/2014/main" id="{55B477F7-E10E-4A46-8D5B-950E8B4B17D8}"/>
                </a:ext>
              </a:extLst>
            </p:cNvPr>
            <p:cNvSpPr txBox="1"/>
            <p:nvPr/>
          </p:nvSpPr>
          <p:spPr>
            <a:xfrm>
              <a:off x="4827233" y="2011805"/>
              <a:ext cx="4194380" cy="707886"/>
            </a:xfrm>
            <a:prstGeom prst="rect">
              <a:avLst/>
            </a:prstGeom>
            <a:noFill/>
          </p:spPr>
          <p:txBody>
            <a:bodyPr wrap="square" rtlCol="0">
              <a:spAutoFit/>
            </a:bodyPr>
            <a:lstStyle/>
            <a:p>
              <a:pPr algn="ctr"/>
              <a:r>
                <a:rPr lang="en-US" sz="2000" b="1">
                  <a:latin typeface="Calibri" panose="020F0502020204030204" pitchFamily="34" charset="0"/>
                  <a:cs typeface="Calibri" panose="020F0502020204030204" pitchFamily="34" charset="0"/>
                </a:rPr>
                <a:t>Overall increase in revenue over </a:t>
              </a:r>
            </a:p>
            <a:p>
              <a:pPr algn="ctr"/>
              <a:r>
                <a:rPr lang="en-US" sz="2000" b="1">
                  <a:latin typeface="Calibri" panose="020F0502020204030204" pitchFamily="34" charset="0"/>
                  <a:cs typeface="Calibri" panose="020F0502020204030204" pitchFamily="34" charset="0"/>
                </a:rPr>
                <a:t>total bookings</a:t>
              </a:r>
            </a:p>
          </p:txBody>
        </p:sp>
        <p:pic>
          <p:nvPicPr>
            <p:cNvPr id="262" name="Picture 261" descr="Icon&#10;&#10;Description automatically generated">
              <a:extLst>
                <a:ext uri="{FF2B5EF4-FFF2-40B4-BE49-F238E27FC236}">
                  <a16:creationId xmlns:a16="http://schemas.microsoft.com/office/drawing/2014/main" id="{7D75D2FA-F210-42B3-806E-E96642813E05}"/>
                </a:ext>
              </a:extLst>
            </p:cNvPr>
            <p:cNvPicPr>
              <a:picLocks noChangeAspect="1"/>
            </p:cNvPicPr>
            <p:nvPr/>
          </p:nvPicPr>
          <p:blipFill>
            <a:blip r:embed="rId22"/>
            <a:stretch>
              <a:fillRect/>
            </a:stretch>
          </p:blipFill>
          <p:spPr>
            <a:xfrm>
              <a:off x="3165355" y="2154599"/>
              <a:ext cx="1276126" cy="1276126"/>
            </a:xfrm>
            <a:prstGeom prst="rect">
              <a:avLst/>
            </a:prstGeom>
          </p:spPr>
        </p:pic>
        <p:sp>
          <p:nvSpPr>
            <p:cNvPr id="263" name="TextBox 262">
              <a:extLst>
                <a:ext uri="{FF2B5EF4-FFF2-40B4-BE49-F238E27FC236}">
                  <a16:creationId xmlns:a16="http://schemas.microsoft.com/office/drawing/2014/main" id="{B12040B3-2803-4933-947A-CDD6AC61B32E}"/>
                </a:ext>
              </a:extLst>
            </p:cNvPr>
            <p:cNvSpPr txBox="1"/>
            <p:nvPr/>
          </p:nvSpPr>
          <p:spPr>
            <a:xfrm>
              <a:off x="5145578" y="2811465"/>
              <a:ext cx="3325091" cy="646331"/>
            </a:xfrm>
            <a:prstGeom prst="rect">
              <a:avLst/>
            </a:prstGeom>
            <a:noFill/>
          </p:spPr>
          <p:txBody>
            <a:bodyPr wrap="square" rtlCol="0">
              <a:spAutoFit/>
            </a:bodyPr>
            <a:lstStyle/>
            <a:p>
              <a:pPr algn="ctr"/>
              <a:r>
                <a:rPr lang="en-US" sz="3600" b="1" i="1">
                  <a:solidFill>
                    <a:srgbClr val="D61440"/>
                  </a:solidFill>
                  <a:latin typeface="Calibri" panose="020F0502020204030204" pitchFamily="34" charset="0"/>
                  <a:cs typeface="Calibri" panose="020F0502020204030204" pitchFamily="34" charset="0"/>
                </a:rPr>
                <a:t>+ 34% </a:t>
              </a:r>
              <a:r>
                <a:rPr lang="en-US" sz="2000" b="1" i="1">
                  <a:solidFill>
                    <a:srgbClr val="D61440"/>
                  </a:solidFill>
                  <a:latin typeface="Calibri" panose="020F0502020204030204" pitchFamily="34" charset="0"/>
                  <a:cs typeface="Calibri" panose="020F0502020204030204" pitchFamily="34" charset="0"/>
                </a:rPr>
                <a:t>to</a:t>
              </a:r>
              <a:r>
                <a:rPr lang="en-US" sz="3600" b="1" i="1">
                  <a:solidFill>
                    <a:srgbClr val="D61440"/>
                  </a:solidFill>
                  <a:latin typeface="Calibri" panose="020F0502020204030204" pitchFamily="34" charset="0"/>
                  <a:cs typeface="Calibri" panose="020F0502020204030204" pitchFamily="34" charset="0"/>
                </a:rPr>
                <a:t> 46%</a:t>
              </a:r>
            </a:p>
          </p:txBody>
        </p:sp>
        <p:sp>
          <p:nvSpPr>
            <p:cNvPr id="264" name="TextBox 263">
              <a:extLst>
                <a:ext uri="{FF2B5EF4-FFF2-40B4-BE49-F238E27FC236}">
                  <a16:creationId xmlns:a16="http://schemas.microsoft.com/office/drawing/2014/main" id="{7AE158A6-5D54-4973-8A15-6EB3A357592D}"/>
                </a:ext>
              </a:extLst>
            </p:cNvPr>
            <p:cNvSpPr txBox="1"/>
            <p:nvPr/>
          </p:nvSpPr>
          <p:spPr>
            <a:xfrm>
              <a:off x="4668086" y="3508185"/>
              <a:ext cx="4198072" cy="707886"/>
            </a:xfrm>
            <a:prstGeom prst="rect">
              <a:avLst/>
            </a:prstGeom>
            <a:noFill/>
          </p:spPr>
          <p:txBody>
            <a:bodyPr wrap="square" rtlCol="0">
              <a:spAutoFit/>
            </a:bodyPr>
            <a:lstStyle/>
            <a:p>
              <a:pPr algn="ctr"/>
              <a:r>
                <a:rPr lang="en-US" sz="2000" b="1">
                  <a:latin typeface="Calibri" panose="020F0502020204030204" pitchFamily="34" charset="0"/>
                  <a:cs typeface="Calibri" panose="020F0502020204030204" pitchFamily="34" charset="0"/>
                </a:rPr>
                <a:t>Increase in Revenue for specific days in which anomalies are detected</a:t>
              </a:r>
            </a:p>
          </p:txBody>
        </p:sp>
      </p:grpSp>
      <p:sp>
        <p:nvSpPr>
          <p:cNvPr id="266" name="Rectangle 265">
            <a:extLst>
              <a:ext uri="{FF2B5EF4-FFF2-40B4-BE49-F238E27FC236}">
                <a16:creationId xmlns:a16="http://schemas.microsoft.com/office/drawing/2014/main" id="{8CDFA103-1D08-42B1-9D94-9DBB9B12CA56}"/>
              </a:ext>
            </a:extLst>
          </p:cNvPr>
          <p:cNvSpPr/>
          <p:nvPr/>
        </p:nvSpPr>
        <p:spPr>
          <a:xfrm>
            <a:off x="34079525" y="9649842"/>
            <a:ext cx="9213576" cy="384721"/>
          </a:xfrm>
          <a:prstGeom prst="rect">
            <a:avLst/>
          </a:prstGeom>
        </p:spPr>
        <p:txBody>
          <a:bodyPr wrap="square">
            <a:spAutoFit/>
          </a:bodyPr>
          <a:lstStyle/>
          <a:p>
            <a:pPr algn="ctr"/>
            <a:r>
              <a:rPr lang="en-US" sz="1900">
                <a:latin typeface="Calibri" panose="020F0502020204030204" pitchFamily="34" charset="0"/>
                <a:ea typeface="Arial" charset="0"/>
                <a:cs typeface="Calibri" panose="020F0502020204030204" pitchFamily="34" charset="0"/>
              </a:rPr>
              <a:t>Fig 5. </a:t>
            </a:r>
            <a:r>
              <a:rPr lang="en-US" sz="1900">
                <a:latin typeface="Calibri" panose="020F0502020204030204" pitchFamily="34" charset="0"/>
                <a:cs typeface="Calibri" panose="020F0502020204030204" pitchFamily="34" charset="0"/>
              </a:rPr>
              <a:t>Accuracy of predicted anomaly detection</a:t>
            </a:r>
          </a:p>
        </p:txBody>
      </p:sp>
      <p:sp>
        <p:nvSpPr>
          <p:cNvPr id="13" name="Rectangle 5">
            <a:extLst>
              <a:ext uri="{FF2B5EF4-FFF2-40B4-BE49-F238E27FC236}">
                <a16:creationId xmlns:a16="http://schemas.microsoft.com/office/drawing/2014/main" id="{D381B42B-929E-434A-9977-49F2982C075D}"/>
              </a:ext>
            </a:extLst>
          </p:cNvPr>
          <p:cNvSpPr>
            <a:spLocks noChangeArrowheads="1"/>
          </p:cNvSpPr>
          <p:nvPr/>
        </p:nvSpPr>
        <p:spPr bwMode="auto">
          <a:xfrm>
            <a:off x="10835951" y="17490171"/>
            <a:ext cx="9820064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8" name="Table 17">
            <a:extLst>
              <a:ext uri="{FF2B5EF4-FFF2-40B4-BE49-F238E27FC236}">
                <a16:creationId xmlns:a16="http://schemas.microsoft.com/office/drawing/2014/main" id="{EF5C91E8-517A-4DFB-987C-D413B1C851F6}"/>
              </a:ext>
            </a:extLst>
          </p:cNvPr>
          <p:cNvGraphicFramePr>
            <a:graphicFrameLocks noGrp="1"/>
          </p:cNvGraphicFramePr>
          <p:nvPr>
            <p:extLst>
              <p:ext uri="{D42A27DB-BD31-4B8C-83A1-F6EECF244321}">
                <p14:modId xmlns:p14="http://schemas.microsoft.com/office/powerpoint/2010/main" val="330531588"/>
              </p:ext>
            </p:extLst>
          </p:nvPr>
        </p:nvGraphicFramePr>
        <p:xfrm>
          <a:off x="10355729" y="18081602"/>
          <a:ext cx="11240287" cy="2830542"/>
        </p:xfrm>
        <a:graphic>
          <a:graphicData uri="http://schemas.openxmlformats.org/drawingml/2006/table">
            <a:tbl>
              <a:tblPr/>
              <a:tblGrid>
                <a:gridCol w="2045821">
                  <a:extLst>
                    <a:ext uri="{9D8B030D-6E8A-4147-A177-3AD203B41FA5}">
                      <a16:colId xmlns:a16="http://schemas.microsoft.com/office/drawing/2014/main" val="2257169346"/>
                    </a:ext>
                  </a:extLst>
                </a:gridCol>
                <a:gridCol w="3064822">
                  <a:extLst>
                    <a:ext uri="{9D8B030D-6E8A-4147-A177-3AD203B41FA5}">
                      <a16:colId xmlns:a16="http://schemas.microsoft.com/office/drawing/2014/main" val="3381487546"/>
                    </a:ext>
                  </a:extLst>
                </a:gridCol>
                <a:gridCol w="3064822">
                  <a:extLst>
                    <a:ext uri="{9D8B030D-6E8A-4147-A177-3AD203B41FA5}">
                      <a16:colId xmlns:a16="http://schemas.microsoft.com/office/drawing/2014/main" val="1655135013"/>
                    </a:ext>
                  </a:extLst>
                </a:gridCol>
                <a:gridCol w="3064822">
                  <a:extLst>
                    <a:ext uri="{9D8B030D-6E8A-4147-A177-3AD203B41FA5}">
                      <a16:colId xmlns:a16="http://schemas.microsoft.com/office/drawing/2014/main" val="2152781091"/>
                    </a:ext>
                  </a:extLst>
                </a:gridCol>
              </a:tblGrid>
              <a:tr h="818862">
                <a:tc>
                  <a:txBody>
                    <a:bodyPr/>
                    <a:lstStyle/>
                    <a:p>
                      <a:pPr algn="ctr" fontAlgn="base"/>
                      <a:r>
                        <a:rPr lang="en-US" sz="2000" b="1" i="0">
                          <a:solidFill>
                            <a:srgbClr val="FFFFFF"/>
                          </a:solidFill>
                          <a:effectLst/>
                          <a:latin typeface="Calibri" panose="020F0502020204030204" pitchFamily="34" charset="0"/>
                        </a:rPr>
                        <a:t>Model​</a:t>
                      </a:r>
                      <a:endParaRPr lang="en-US" sz="2000" b="1" i="0">
                        <a:solidFill>
                          <a:srgbClr val="FFFFFF"/>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900E2D"/>
                    </a:solidFill>
                  </a:tcPr>
                </a:tc>
                <a:tc>
                  <a:txBody>
                    <a:bodyPr/>
                    <a:lstStyle/>
                    <a:p>
                      <a:pPr algn="ctr" fontAlgn="base"/>
                      <a:r>
                        <a:rPr lang="en-US" sz="2000" b="1" i="0">
                          <a:solidFill>
                            <a:srgbClr val="FFFFFF"/>
                          </a:solidFill>
                          <a:effectLst/>
                          <a:latin typeface="Calibri" panose="020F0502020204030204" pitchFamily="34" charset="0"/>
                        </a:rPr>
                        <a:t>Principal Component Analysis​</a:t>
                      </a:r>
                      <a:endParaRPr lang="en-US" sz="2000" b="1" i="0">
                        <a:solidFill>
                          <a:srgbClr val="FFFFFF"/>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900E2D"/>
                    </a:solidFill>
                  </a:tcPr>
                </a:tc>
                <a:tc>
                  <a:txBody>
                    <a:bodyPr/>
                    <a:lstStyle/>
                    <a:p>
                      <a:pPr algn="ctr" fontAlgn="base"/>
                      <a:r>
                        <a:rPr lang="en-US" sz="2000" b="1" i="0">
                          <a:solidFill>
                            <a:srgbClr val="FFFFFF"/>
                          </a:solidFill>
                          <a:effectLst/>
                          <a:latin typeface="Calibri" panose="020F0502020204030204" pitchFamily="34" charset="0"/>
                        </a:rPr>
                        <a:t>Standard Deviation​</a:t>
                      </a:r>
                      <a:endParaRPr lang="en-US" sz="2000" b="1" i="0">
                        <a:solidFill>
                          <a:srgbClr val="FFFFFF"/>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900E2D"/>
                    </a:solidFill>
                  </a:tcPr>
                </a:tc>
                <a:tc>
                  <a:txBody>
                    <a:bodyPr/>
                    <a:lstStyle/>
                    <a:p>
                      <a:pPr algn="ctr" fontAlgn="base"/>
                      <a:r>
                        <a:rPr lang="en-US" sz="2000" b="1" i="0">
                          <a:solidFill>
                            <a:srgbClr val="FFFFFF"/>
                          </a:solidFill>
                          <a:effectLst/>
                          <a:latin typeface="Calibri" panose="020F0502020204030204" pitchFamily="34" charset="0"/>
                        </a:rPr>
                        <a:t>Clustering-based​</a:t>
                      </a:r>
                      <a:endParaRPr lang="en-US" sz="2000" b="1" i="0">
                        <a:solidFill>
                          <a:srgbClr val="FFFFFF"/>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900E2D"/>
                    </a:solidFill>
                  </a:tcPr>
                </a:tc>
                <a:extLst>
                  <a:ext uri="{0D108BD9-81ED-4DB2-BD59-A6C34878D82A}">
                    <a16:rowId xmlns:a16="http://schemas.microsoft.com/office/drawing/2014/main" val="1140259233"/>
                  </a:ext>
                </a:extLst>
              </a:tr>
              <a:tr h="674357">
                <a:tc>
                  <a:txBody>
                    <a:bodyPr/>
                    <a:lstStyle/>
                    <a:p>
                      <a:pPr algn="ctr" fontAlgn="base"/>
                      <a:r>
                        <a:rPr lang="en-US" sz="2000" b="1" i="0">
                          <a:solidFill>
                            <a:srgbClr val="000000"/>
                          </a:solidFill>
                          <a:effectLst/>
                          <a:latin typeface="Calibri" panose="020F0502020204030204" pitchFamily="34" charset="0"/>
                        </a:rPr>
                        <a:t>Pros</a:t>
                      </a:r>
                      <a:r>
                        <a:rPr lang="en-US" sz="2000" b="0" i="0">
                          <a:solidFill>
                            <a:srgbClr val="000000"/>
                          </a:solidFill>
                          <a:effectLst/>
                          <a:latin typeface="Calibri" panose="020F0502020204030204" pitchFamily="34" charset="0"/>
                        </a:rPr>
                        <a:t>​</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F9C3D0"/>
                    </a:solidFill>
                  </a:tcPr>
                </a:tc>
                <a:tc>
                  <a:txBody>
                    <a:bodyPr/>
                    <a:lstStyle/>
                    <a:p>
                      <a:pPr algn="l" fontAlgn="base"/>
                      <a:r>
                        <a:rPr lang="en-US" sz="2000" b="0" i="0">
                          <a:solidFill>
                            <a:srgbClr val="000000"/>
                          </a:solidFill>
                          <a:effectLst/>
                          <a:latin typeface="Calibri" panose="020F0502020204030204" pitchFamily="34" charset="0"/>
                        </a:rPr>
                        <a:t>Preventative measure for sporadic anomalies​</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F9C3D0"/>
                    </a:solidFill>
                  </a:tcPr>
                </a:tc>
                <a:tc>
                  <a:txBody>
                    <a:bodyPr/>
                    <a:lstStyle/>
                    <a:p>
                      <a:pPr algn="l" fontAlgn="base"/>
                      <a:r>
                        <a:rPr lang="en-US" sz="2000" b="0" i="0">
                          <a:solidFill>
                            <a:srgbClr val="000000"/>
                          </a:solidFill>
                          <a:effectLst/>
                          <a:latin typeface="Calibri" panose="020F0502020204030204" pitchFamily="34" charset="0"/>
                        </a:rPr>
                        <a:t>Basic, easily interpreted model​</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F9C3D0"/>
                    </a:solidFill>
                  </a:tcPr>
                </a:tc>
                <a:tc>
                  <a:txBody>
                    <a:bodyPr/>
                    <a:lstStyle/>
                    <a:p>
                      <a:pPr algn="l" fontAlgn="base"/>
                      <a:r>
                        <a:rPr lang="en-US" sz="2000" b="0" i="0">
                          <a:solidFill>
                            <a:srgbClr val="000000"/>
                          </a:solidFill>
                          <a:effectLst/>
                          <a:latin typeface="Calibri" panose="020F0502020204030204" pitchFamily="34" charset="0"/>
                        </a:rPr>
                        <a:t>Easily visualized and interpretable​</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solidFill>
                      <a:srgbClr val="F9C3D0"/>
                    </a:solidFill>
                  </a:tcPr>
                </a:tc>
                <a:extLst>
                  <a:ext uri="{0D108BD9-81ED-4DB2-BD59-A6C34878D82A}">
                    <a16:rowId xmlns:a16="http://schemas.microsoft.com/office/drawing/2014/main" val="4259311471"/>
                  </a:ext>
                </a:extLst>
              </a:tr>
              <a:tr h="1053683">
                <a:tc>
                  <a:txBody>
                    <a:bodyPr/>
                    <a:lstStyle/>
                    <a:p>
                      <a:pPr algn="ctr" fontAlgn="base"/>
                      <a:r>
                        <a:rPr lang="en-US" sz="2000" b="1" i="0">
                          <a:solidFill>
                            <a:srgbClr val="000000"/>
                          </a:solidFill>
                          <a:effectLst/>
                          <a:latin typeface="Calibri" panose="020F0502020204030204" pitchFamily="34" charset="0"/>
                        </a:rPr>
                        <a:t>Cons</a:t>
                      </a:r>
                      <a:r>
                        <a:rPr lang="en-US" sz="2000" b="0" i="0">
                          <a:solidFill>
                            <a:srgbClr val="000000"/>
                          </a:solidFill>
                          <a:effectLst/>
                          <a:latin typeface="Calibri" panose="020F0502020204030204" pitchFamily="34" charset="0"/>
                        </a:rPr>
                        <a:t>​</a:t>
                      </a:r>
                      <a:endParaRPr lang="en-US" sz="2000" b="0" i="0">
                        <a:solidFill>
                          <a:srgbClr val="000000"/>
                        </a:solidFill>
                        <a:effectLst/>
                      </a:endParaRPr>
                    </a:p>
                    <a:p>
                      <a:pPr algn="ctr" fontAlgn="base"/>
                      <a:r>
                        <a:rPr lang="en-US" sz="2000" b="0" i="0">
                          <a:solidFill>
                            <a:srgbClr val="000000"/>
                          </a:solidFill>
                          <a:effectLst/>
                          <a:latin typeface="Calibri" panose="020F0502020204030204" pitchFamily="34" charset="0"/>
                        </a:rPr>
                        <a:t>​</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tcPr>
                </a:tc>
                <a:tc>
                  <a:txBody>
                    <a:bodyPr/>
                    <a:lstStyle/>
                    <a:p>
                      <a:pPr algn="l" fontAlgn="base"/>
                      <a:r>
                        <a:rPr lang="en-US" sz="2000" b="0" i="0">
                          <a:solidFill>
                            <a:srgbClr val="000000"/>
                          </a:solidFill>
                          <a:effectLst/>
                          <a:latin typeface="Calibri" panose="020F0502020204030204" pitchFamily="34" charset="0"/>
                        </a:rPr>
                        <a:t>Anomalies on the low end were easily missed​</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tcPr>
                </a:tc>
                <a:tc>
                  <a:txBody>
                    <a:bodyPr/>
                    <a:lstStyle/>
                    <a:p>
                      <a:pPr algn="l" fontAlgn="base"/>
                      <a:r>
                        <a:rPr lang="en-US" sz="2000" b="0" i="0">
                          <a:solidFill>
                            <a:srgbClr val="000000"/>
                          </a:solidFill>
                          <a:effectLst/>
                          <a:latin typeface="Calibri" panose="020F0502020204030204" pitchFamily="34" charset="0"/>
                        </a:rPr>
                        <a:t>Skewed data causes issues with anomaly prediction, overpredicting on the heavy tail​</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tcPr>
                </a:tc>
                <a:tc>
                  <a:txBody>
                    <a:bodyPr/>
                    <a:lstStyle/>
                    <a:p>
                      <a:pPr algn="l" fontAlgn="base"/>
                      <a:r>
                        <a:rPr lang="en-US" sz="2000" b="0" i="0">
                          <a:solidFill>
                            <a:srgbClr val="000000"/>
                          </a:solidFill>
                          <a:effectLst/>
                          <a:latin typeface="Calibri" panose="020F0502020204030204" pitchFamily="34" charset="0"/>
                        </a:rPr>
                        <a:t>Clusters may include true anomalous points​</a:t>
                      </a:r>
                      <a:endParaRPr lang="en-US" sz="2000" b="0" i="0">
                        <a:solidFill>
                          <a:srgbClr val="000000"/>
                        </a:solidFill>
                        <a:effectLst/>
                      </a:endParaRPr>
                    </a:p>
                  </a:txBody>
                  <a:tcPr anchor="ctr">
                    <a:lnL w="6772" cap="flat" cmpd="sng" algn="ctr">
                      <a:solidFill>
                        <a:srgbClr val="000000"/>
                      </a:solidFill>
                      <a:prstDash val="solid"/>
                      <a:round/>
                      <a:headEnd type="none" w="med" len="med"/>
                      <a:tailEnd type="none" w="med" len="med"/>
                    </a:lnL>
                    <a:lnR w="6772" cap="flat" cmpd="sng" algn="ctr">
                      <a:solidFill>
                        <a:srgbClr val="000000"/>
                      </a:solidFill>
                      <a:prstDash val="solid"/>
                      <a:round/>
                      <a:headEnd type="none" w="med" len="med"/>
                      <a:tailEnd type="none" w="med" len="med"/>
                    </a:lnR>
                    <a:lnT w="6772" cap="flat" cmpd="sng" algn="ctr">
                      <a:solidFill>
                        <a:srgbClr val="000000"/>
                      </a:solidFill>
                      <a:prstDash val="solid"/>
                      <a:round/>
                      <a:headEnd type="none" w="med" len="med"/>
                      <a:tailEnd type="none" w="med" len="med"/>
                    </a:lnT>
                    <a:lnB w="6772"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843591"/>
                  </a:ext>
                </a:extLst>
              </a:tr>
            </a:tbl>
          </a:graphicData>
        </a:graphic>
      </p:graphicFrame>
      <p:sp>
        <p:nvSpPr>
          <p:cNvPr id="19" name="Rectangle 6">
            <a:extLst>
              <a:ext uri="{FF2B5EF4-FFF2-40B4-BE49-F238E27FC236}">
                <a16:creationId xmlns:a16="http://schemas.microsoft.com/office/drawing/2014/main" id="{FB0DB264-6FFA-4719-A939-8826F13DFBD5}"/>
              </a:ext>
            </a:extLst>
          </p:cNvPr>
          <p:cNvSpPr>
            <a:spLocks noChangeArrowheads="1"/>
          </p:cNvSpPr>
          <p:nvPr/>
        </p:nvSpPr>
        <p:spPr bwMode="auto">
          <a:xfrm>
            <a:off x="11350244" y="17606717"/>
            <a:ext cx="9513935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96158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BBE5E52D-EB9D-4B72-A928-24760AE9C86A}">
  <ds:schemaRefs>
    <ds:schemaRef ds:uri="http://purl.org/dc/terms/"/>
    <ds:schemaRef ds:uri="http://www.w3.org/XML/1998/namespace"/>
    <ds:schemaRef ds:uri="http://schemas.microsoft.com/office/infopath/2007/PartnerControls"/>
    <ds:schemaRef ds:uri="http://purl.org/dc/elements/1.1/"/>
    <ds:schemaRef ds:uri="http://schemas.microsoft.com/office/2006/documentManagement/types"/>
    <ds:schemaRef ds:uri="http://purl.org/dc/dcmitype/"/>
    <ds:schemaRef ds:uri="b1755f8e-5024-43d4-9f4e-f0720ef5cbea"/>
    <ds:schemaRef ds:uri="http://schemas.openxmlformats.org/package/2006/metadata/core-properties"/>
    <ds:schemaRef ds:uri="b60307e8-227d-4226-bf3f-3f3e3f61459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0</TotalTime>
  <Words>1161</Words>
  <Application>Microsoft Office PowerPoint</Application>
  <PresentationFormat>Custom</PresentationFormat>
  <Paragraphs>112</Paragraphs>
  <Slides>1</Slides>
  <Notes>0</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Gajavalli, Pratyusha</cp:lastModifiedBy>
  <cp:revision>2</cp:revision>
  <cp:lastPrinted>2001-08-01T02:48:55Z</cp:lastPrinted>
  <dcterms:created xsi:type="dcterms:W3CDTF">2014-12-02T19:25:45Z</dcterms:created>
  <dcterms:modified xsi:type="dcterms:W3CDTF">2023-01-09T16:3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y fmtid="{D5CDD505-2E9C-101B-9397-08002B2CF9AE}" pid="3" name="MSIP_Label_4044bd30-2ed7-4c9d-9d12-46200872a97b_Enabled">
    <vt:lpwstr>true</vt:lpwstr>
  </property>
  <property fmtid="{D5CDD505-2E9C-101B-9397-08002B2CF9AE}" pid="4" name="MSIP_Label_4044bd30-2ed7-4c9d-9d12-46200872a97b_SetDate">
    <vt:lpwstr>2023-01-09T16:31:15Z</vt:lpwstr>
  </property>
  <property fmtid="{D5CDD505-2E9C-101B-9397-08002B2CF9AE}" pid="5" name="MSIP_Label_4044bd30-2ed7-4c9d-9d12-46200872a97b_Method">
    <vt:lpwstr>Standard</vt:lpwstr>
  </property>
  <property fmtid="{D5CDD505-2E9C-101B-9397-08002B2CF9AE}" pid="6" name="MSIP_Label_4044bd30-2ed7-4c9d-9d12-46200872a97b_Name">
    <vt:lpwstr>defa4170-0d19-0005-0004-bc88714345d2</vt:lpwstr>
  </property>
  <property fmtid="{D5CDD505-2E9C-101B-9397-08002B2CF9AE}" pid="7" name="MSIP_Label_4044bd30-2ed7-4c9d-9d12-46200872a97b_SiteId">
    <vt:lpwstr>4130bd39-7c53-419c-b1e5-8758d6d63f21</vt:lpwstr>
  </property>
  <property fmtid="{D5CDD505-2E9C-101B-9397-08002B2CF9AE}" pid="8" name="MSIP_Label_4044bd30-2ed7-4c9d-9d12-46200872a97b_ActionId">
    <vt:lpwstr>51a0e035-9aa9-4635-b113-8ed5d3b7af5f</vt:lpwstr>
  </property>
  <property fmtid="{D5CDD505-2E9C-101B-9397-08002B2CF9AE}" pid="9" name="MSIP_Label_4044bd30-2ed7-4c9d-9d12-46200872a97b_ContentBits">
    <vt:lpwstr>0</vt:lpwstr>
  </property>
</Properties>
</file>